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9"/>
  </p:notesMasterIdLst>
  <p:sldIdLst>
    <p:sldId id="279" r:id="rId5"/>
    <p:sldId id="2145709505" r:id="rId6"/>
    <p:sldId id="2145709513" r:id="rId7"/>
    <p:sldId id="2145709509" r:id="rId8"/>
  </p:sldIdLst>
  <p:sldSz cx="12192000" cy="6858000"/>
  <p:notesSz cx="6858000" cy="9144000"/>
  <p:custDataLst>
    <p:tags r:id="rId10"/>
  </p:custDataLst>
  <p:defaultTextStyle>
    <a:defPPr>
      <a:defRPr lang="en-SA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leh, Firas" initials="SF" lastIdx="160" clrIdx="0">
    <p:extLst>
      <p:ext uri="{19B8F6BF-5375-455C-9EA6-DF929625EA0E}">
        <p15:presenceInfo xmlns:p15="http://schemas.microsoft.com/office/powerpoint/2012/main" userId="S::ferassaleh@kpmg.com::b75b1de0-8a20-4493-b6cb-330a64b29249" providerId="AD"/>
      </p:ext>
    </p:extLst>
  </p:cmAuthor>
  <p:cmAuthor id="2" name="Mubin" initials="M" lastIdx="192" clrIdx="1">
    <p:extLst>
      <p:ext uri="{19B8F6BF-5375-455C-9EA6-DF929625EA0E}">
        <p15:presenceInfo xmlns:p15="http://schemas.microsoft.com/office/powerpoint/2012/main" userId="S::malzakhab1@KPMG.com::33e019b2-cfd8-456b-8e82-993be1728255" providerId="AD"/>
      </p:ext>
    </p:extLst>
  </p:cmAuthor>
  <p:cmAuthor id="3" name="Alswailem, Faisal" initials="AF" lastIdx="350" clrIdx="2">
    <p:extLst>
      <p:ext uri="{19B8F6BF-5375-455C-9EA6-DF929625EA0E}">
        <p15:presenceInfo xmlns:p15="http://schemas.microsoft.com/office/powerpoint/2012/main" userId="S::falswailem@kpmg.com::d183e5b4-2bb4-4ca8-a010-903287ae35d3" providerId="AD"/>
      </p:ext>
    </p:extLst>
  </p:cmAuthor>
  <p:cmAuthor id="4" name="Alkhowaiter, Abdulrahman" initials="AA" lastIdx="46" clrIdx="3">
    <p:extLst>
      <p:ext uri="{19B8F6BF-5375-455C-9EA6-DF929625EA0E}">
        <p15:presenceInfo xmlns:p15="http://schemas.microsoft.com/office/powerpoint/2012/main" userId="S::aalkhowaiter@kpmg.com::89a861c1-c3a7-400d-beb2-21d903de0190" providerId="AD"/>
      </p:ext>
    </p:extLst>
  </p:cmAuthor>
  <p:cmAuthor id="5" name="Hijawi, Marwan" initials="HM" lastIdx="29" clrIdx="4">
    <p:extLst>
      <p:ext uri="{19B8F6BF-5375-455C-9EA6-DF929625EA0E}">
        <p15:presenceInfo xmlns:p15="http://schemas.microsoft.com/office/powerpoint/2012/main" userId="S::mhijawi@Kpmg.Com::e432c416-fc92-4363-912f-374d5965b76e" providerId="AD"/>
      </p:ext>
    </p:extLst>
  </p:cmAuthor>
  <p:cmAuthor id="6" name="Abomelha, Faris" initials="AF" lastIdx="53" clrIdx="5">
    <p:extLst>
      <p:ext uri="{19B8F6BF-5375-455C-9EA6-DF929625EA0E}">
        <p15:presenceInfo xmlns:p15="http://schemas.microsoft.com/office/powerpoint/2012/main" userId="S::fabomelha@kpmg.com::4151bb84-e086-4b63-b161-16b41f9a8f0a" providerId="AD"/>
      </p:ext>
    </p:extLst>
  </p:cmAuthor>
  <p:cmAuthor id="7" name="Almajed, Oday" initials="AO" lastIdx="7" clrIdx="6">
    <p:extLst>
      <p:ext uri="{19B8F6BF-5375-455C-9EA6-DF929625EA0E}">
        <p15:presenceInfo xmlns:p15="http://schemas.microsoft.com/office/powerpoint/2012/main" userId="S::oalmajed@kpmg.com::689a7cab-e4f1-42e3-a765-895b0f7ccb44" providerId="AD"/>
      </p:ext>
    </p:extLst>
  </p:cmAuthor>
  <p:cmAuthor id="8" name="Alsager, Sager" initials="AS" lastIdx="1" clrIdx="7">
    <p:extLst>
      <p:ext uri="{19B8F6BF-5375-455C-9EA6-DF929625EA0E}">
        <p15:presenceInfo xmlns:p15="http://schemas.microsoft.com/office/powerpoint/2012/main" userId="S::salsager@kpmg.com::e3b0ffdb-e06a-4d9a-aac4-895e396956ac" providerId="AD"/>
      </p:ext>
    </p:extLst>
  </p:cmAuthor>
  <p:cmAuthor id="9" name="Baruzayq, Abdullah" initials="BA" lastIdx="86" clrIdx="8">
    <p:extLst>
      <p:ext uri="{19B8F6BF-5375-455C-9EA6-DF929625EA0E}">
        <p15:presenceInfo xmlns:p15="http://schemas.microsoft.com/office/powerpoint/2012/main" userId="S::abaruzayq@kpmg.com::00709421-e5cf-4c12-a4c9-ede81e84357d" providerId="AD"/>
      </p:ext>
    </p:extLst>
  </p:cmAuthor>
  <p:cmAuthor id="10" name="Simkova, Marketa (UAE)" initials="S(" lastIdx="4" clrIdx="9">
    <p:extLst>
      <p:ext uri="{19B8F6BF-5375-455C-9EA6-DF929625EA0E}">
        <p15:presenceInfo xmlns:p15="http://schemas.microsoft.com/office/powerpoint/2012/main" userId="S::msimkova@kpmg.com::e1a7bd42-5368-43b6-bab4-a31021612da9" providerId="AD"/>
      </p:ext>
    </p:extLst>
  </p:cmAuthor>
  <p:cmAuthor id="11" name="Dhingra, Charu" initials="DC" lastIdx="99" clrIdx="10">
    <p:extLst>
      <p:ext uri="{19B8F6BF-5375-455C-9EA6-DF929625EA0E}">
        <p15:presenceInfo xmlns:p15="http://schemas.microsoft.com/office/powerpoint/2012/main" userId="S::cdhingra@KPMG.com::c982e83e-6c76-465f-bcb6-fa67299504ac" providerId="AD"/>
      </p:ext>
    </p:extLst>
  </p:cmAuthor>
  <p:cmAuthor id="12" name="Sublaban, Khalil" initials="SK" lastIdx="2" clrIdx="11">
    <p:extLst>
      <p:ext uri="{19B8F6BF-5375-455C-9EA6-DF929625EA0E}">
        <p15:presenceInfo xmlns:p15="http://schemas.microsoft.com/office/powerpoint/2012/main" userId="S::ksublaban@kpmg.com::42a726c7-927f-4db7-99fd-bbe38b126245" providerId="AD"/>
      </p:ext>
    </p:extLst>
  </p:cmAuthor>
  <p:cmAuthor id="13" name="Abdullah, Nazeeh" initials="AN" lastIdx="21" clrIdx="12">
    <p:extLst>
      <p:ext uri="{19B8F6BF-5375-455C-9EA6-DF929625EA0E}">
        <p15:presenceInfo xmlns:p15="http://schemas.microsoft.com/office/powerpoint/2012/main" userId="S::nazeehabdullah@Kpmg.Com::eb42a43b-d321-47c0-aad9-dadd91368845" providerId="AD"/>
      </p:ext>
    </p:extLst>
  </p:cmAuthor>
  <p:cmAuthor id="14" name="Chehade, Hind (UAE)" initials="CH(" lastIdx="7" clrIdx="13">
    <p:extLst>
      <p:ext uri="{19B8F6BF-5375-455C-9EA6-DF929625EA0E}">
        <p15:presenceInfo xmlns:p15="http://schemas.microsoft.com/office/powerpoint/2012/main" userId="S::hchehade1@KPMG.com::29f829b6-a899-42dc-8987-8247a8ff3114" providerId="AD"/>
      </p:ext>
    </p:extLst>
  </p:cmAuthor>
  <p:cmAuthor id="15" name="Sheikh Issa, Tareq" initials="SIT" lastIdx="17" clrIdx="14">
    <p:extLst>
      <p:ext uri="{19B8F6BF-5375-455C-9EA6-DF929625EA0E}">
        <p15:presenceInfo xmlns:p15="http://schemas.microsoft.com/office/powerpoint/2012/main" userId="S::tareqissa@kpmg.com::315429b1-20cb-4c8f-9bae-e733317e0f93" providerId="AD"/>
      </p:ext>
    </p:extLst>
  </p:cmAuthor>
  <p:cmAuthor id="16" name="Almajed, Sarah" initials="AS" lastIdx="1" clrIdx="15">
    <p:extLst>
      <p:ext uri="{19B8F6BF-5375-455C-9EA6-DF929625EA0E}">
        <p15:presenceInfo xmlns:p15="http://schemas.microsoft.com/office/powerpoint/2012/main" userId="S::sarahalmajed@kpmg.com::7126a9f8-04a6-4d66-99c7-6265c6de7f64" providerId="AD"/>
      </p:ext>
    </p:extLst>
  </p:cmAuthor>
  <p:cmAuthor id="17" name="Leung, Andy (UAE)" initials="LA(" lastIdx="22" clrIdx="16">
    <p:extLst>
      <p:ext uri="{19B8F6BF-5375-455C-9EA6-DF929625EA0E}">
        <p15:presenceInfo xmlns:p15="http://schemas.microsoft.com/office/powerpoint/2012/main" userId="S::aleung3@kpmg.com::4f695b12-7ad6-4df8-8fa5-0656589855bb" providerId="AD"/>
      </p:ext>
    </p:extLst>
  </p:cmAuthor>
  <p:cmAuthor id="18" name="Dayal, Kaushal" initials="DK" lastIdx="37" clrIdx="17">
    <p:extLst>
      <p:ext uri="{19B8F6BF-5375-455C-9EA6-DF929625EA0E}">
        <p15:presenceInfo xmlns:p15="http://schemas.microsoft.com/office/powerpoint/2012/main" userId="S::kaushaldayal@kpmg.com::7c6e06c4-74a8-4592-9570-d1ec5db6216f" providerId="AD"/>
      </p:ext>
    </p:extLst>
  </p:cmAuthor>
  <p:cmAuthor id="19" name="Abdel Hamid, Ahmed (UAE)" initials="AHA(" lastIdx="29" clrIdx="18">
    <p:extLst>
      <p:ext uri="{19B8F6BF-5375-455C-9EA6-DF929625EA0E}">
        <p15:presenceInfo xmlns:p15="http://schemas.microsoft.com/office/powerpoint/2012/main" userId="S::aabdelhamid1@kpmg.com::aa0217b0-ee4e-4f4e-826a-b8084a5099b3" providerId="AD"/>
      </p:ext>
    </p:extLst>
  </p:cmAuthor>
  <p:cmAuthor id="20" name="Almahasheer, Shaikha" initials="AS" lastIdx="4" clrIdx="19">
    <p:extLst>
      <p:ext uri="{19B8F6BF-5375-455C-9EA6-DF929625EA0E}">
        <p15:presenceInfo xmlns:p15="http://schemas.microsoft.com/office/powerpoint/2012/main" userId="S::salmahasheer@kpmg.com::9129f1f0-b3bb-4414-9fb4-829115ad5674" providerId="AD"/>
      </p:ext>
    </p:extLst>
  </p:cmAuthor>
  <p:cmAuthor id="21" name="Jalawi, Maryam" initials="JM" lastIdx="11" clrIdx="20">
    <p:extLst>
      <p:ext uri="{19B8F6BF-5375-455C-9EA6-DF929625EA0E}">
        <p15:presenceInfo xmlns:p15="http://schemas.microsoft.com/office/powerpoint/2012/main" userId="S::mjalawi@kpmg.com::2dba43af-e63c-4a4a-bb65-bfb5a2484ce0" providerId="AD"/>
      </p:ext>
    </p:extLst>
  </p:cmAuthor>
  <p:cmAuthor id="22" name="Hussain, Aabid" initials="HA" lastIdx="18" clrIdx="21">
    <p:extLst>
      <p:ext uri="{19B8F6BF-5375-455C-9EA6-DF929625EA0E}">
        <p15:presenceInfo xmlns:p15="http://schemas.microsoft.com/office/powerpoint/2012/main" userId="S::aabidhussain@kpmg.com::fbb65198-9351-4ac3-8087-a4be0910a941" providerId="AD"/>
      </p:ext>
    </p:extLst>
  </p:cmAuthor>
  <p:cmAuthor id="23" name="Alhawshani, Bashayr" initials="AB" lastIdx="3" clrIdx="22">
    <p:extLst>
      <p:ext uri="{19B8F6BF-5375-455C-9EA6-DF929625EA0E}">
        <p15:presenceInfo xmlns:p15="http://schemas.microsoft.com/office/powerpoint/2012/main" userId="S::balhawshani@kpmg.com::b5f1bd83-e388-427b-a600-4b1822506b4a" providerId="AD"/>
      </p:ext>
    </p:extLst>
  </p:cmAuthor>
  <p:cmAuthor id="24" name="Janbi, Asma" initials="JA" lastIdx="3" clrIdx="23">
    <p:extLst>
      <p:ext uri="{19B8F6BF-5375-455C-9EA6-DF929625EA0E}">
        <p15:presenceInfo xmlns:p15="http://schemas.microsoft.com/office/powerpoint/2012/main" userId="S::ajanbi@kpmg.com::244ec863-0c45-4c4a-9007-8c29a6ecfd40" providerId="AD"/>
      </p:ext>
    </p:extLst>
  </p:cmAuthor>
  <p:cmAuthor id="25" name="Althinayyan, Khaled" initials="AK" lastIdx="66" clrIdx="24">
    <p:extLst>
      <p:ext uri="{19B8F6BF-5375-455C-9EA6-DF929625EA0E}">
        <p15:presenceInfo xmlns:p15="http://schemas.microsoft.com/office/powerpoint/2012/main" userId="S::khaledalthinayyan@kpmg.com::58c3054f-71a6-4dca-9750-0ad9233f646d" providerId="AD"/>
      </p:ext>
    </p:extLst>
  </p:cmAuthor>
  <p:cmAuthor id="26" name="Alsayouhi, Mujahed" initials="AM" lastIdx="12" clrIdx="25">
    <p:extLst>
      <p:ext uri="{19B8F6BF-5375-455C-9EA6-DF929625EA0E}">
        <p15:presenceInfo xmlns:p15="http://schemas.microsoft.com/office/powerpoint/2012/main" userId="S::mujahedalsayouhi@kpmg.com::6a6a3ea1-294e-433e-97a8-4383d12a1105" providerId="AD"/>
      </p:ext>
    </p:extLst>
  </p:cmAuthor>
  <p:cmAuthor id="27" name="Abalkhail, Nawaf" initials="AN" lastIdx="2" clrIdx="26">
    <p:extLst>
      <p:ext uri="{19B8F6BF-5375-455C-9EA6-DF929625EA0E}">
        <p15:presenceInfo xmlns:p15="http://schemas.microsoft.com/office/powerpoint/2012/main" userId="S::nabalkhail@kpmg.com::15f23891-7f89-46a3-8669-5743a6e0dc76" providerId="AD"/>
      </p:ext>
    </p:extLst>
  </p:cmAuthor>
  <p:cmAuthor id="28" name="Dhingra, Charu" initials="DC [2]" lastIdx="4" clrIdx="27">
    <p:extLst>
      <p:ext uri="{19B8F6BF-5375-455C-9EA6-DF929625EA0E}">
        <p15:presenceInfo xmlns:p15="http://schemas.microsoft.com/office/powerpoint/2012/main" userId="S::charudhingra@go1.kworld.kpmg.com::a6c7a90b-2562-4ec8-9421-0ff12199a09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FFC000"/>
    <a:srgbClr val="00B050"/>
    <a:srgbClr val="FFFFFF"/>
    <a:srgbClr val="F2F2F2"/>
    <a:srgbClr val="2BB473"/>
    <a:srgbClr val="158284"/>
    <a:srgbClr val="F7931D"/>
    <a:srgbClr val="16876F"/>
    <a:srgbClr val="F88D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14" y="13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735ED2-95C6-C147-963D-B96C43C25BDA}" type="datetimeFigureOut">
              <a:t>8/6/2023</a:t>
            </a:fld>
            <a:endParaRPr lang="en-S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S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BCF49E5-90F7-7640-B05E-F0909049F516}" type="slidenum">
              <a:t>‹#›</a:t>
            </a:fld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20171700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ar-SA"/>
              <a:t>أغسط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D01DCD-1923-42F5-9AD0-1E43E1A0EA5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00052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438445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002245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5.svg"/><Relationship Id="rId4" Type="http://schemas.openxmlformats.org/officeDocument/2006/relationships/image" Target="../media/image11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BE9C442-B532-DD42-B563-DD0D3598F0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16572133-A496-7746-ABC7-C75406F408E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879013" y="683878"/>
            <a:ext cx="2717033" cy="834026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9BF7F8A9-6758-254B-8C99-57FDA6618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836406" y="4882920"/>
            <a:ext cx="3759639" cy="283440"/>
          </a:xfrm>
        </p:spPr>
        <p:txBody>
          <a:bodyPr lIns="0" tIns="0" rIns="0" bIns="0" anchor="b">
            <a:noAutofit/>
          </a:bodyPr>
          <a:lstStyle>
            <a:lvl1pPr marL="0" indent="0" algn="r">
              <a:buNone/>
              <a:defRPr sz="1600" b="0" i="0">
                <a:solidFill>
                  <a:schemeClr val="accent2"/>
                </a:solidFill>
                <a:latin typeface="29LT Bukra" panose="020B0504040000000004" pitchFamily="34" charset="-78"/>
                <a:cs typeface="29LT Bukra" panose="020B0504040000000004" pitchFamily="34" charset="-7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ar-SA"/>
              <a:t>مثال لعنوان فرعي لوريم ابسوم</a:t>
            </a:r>
            <a:endParaRPr lang="en-SA"/>
          </a:p>
        </p:txBody>
      </p:sp>
      <p:sp>
        <p:nvSpPr>
          <p:cNvPr id="9" name="Text Placeholder 27">
            <a:extLst>
              <a:ext uri="{FF2B5EF4-FFF2-40B4-BE49-F238E27FC236}">
                <a16:creationId xmlns:a16="http://schemas.microsoft.com/office/drawing/2014/main" id="{4F739498-BBC5-3440-A8CA-0F85678C995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18989" y="6181345"/>
            <a:ext cx="1325880" cy="283440"/>
          </a:xfrm>
        </p:spPr>
        <p:txBody>
          <a:bodyPr lIns="0" tIns="0" rIns="0" bIns="0" anchor="b"/>
          <a:lstStyle>
            <a:lvl1pPr marL="0" indent="0">
              <a:buFontTx/>
              <a:buNone/>
              <a:defRPr sz="1400" b="0" i="0">
                <a:solidFill>
                  <a:schemeClr val="accent2"/>
                </a:solidFill>
                <a:latin typeface="29LT Bukra" panose="020B0504040000000004" pitchFamily="34" charset="-78"/>
                <a:cs typeface="29LT Bukra" panose="020B0504040000000004" pitchFamily="34" charset="-78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r" defTabSz="914400" rtl="1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/>
              <a:t>سبتمبر </a:t>
            </a:r>
            <a:r>
              <a:rPr lang="en-US"/>
              <a:t>2020</a:t>
            </a:r>
            <a:endParaRPr lang="en-SA"/>
          </a:p>
        </p:txBody>
      </p:sp>
      <p:sp>
        <p:nvSpPr>
          <p:cNvPr id="11" name="Title 7">
            <a:extLst>
              <a:ext uri="{FF2B5EF4-FFF2-40B4-BE49-F238E27FC236}">
                <a16:creationId xmlns:a16="http://schemas.microsoft.com/office/drawing/2014/main" id="{16FF9810-8FAF-9A42-BED6-345FCB515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7840" y="3648456"/>
            <a:ext cx="6018206" cy="1167721"/>
          </a:xfrm>
        </p:spPr>
        <p:txBody>
          <a:bodyPr/>
          <a:lstStyle>
            <a:lvl1pPr marL="0" marR="0" indent="0" algn="r" defTabSz="914400" rtl="1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>
                <a:ln>
                  <a:noFill/>
                </a:ln>
                <a:solidFill>
                  <a:schemeClr val="tx2"/>
                </a:solidFill>
                <a:latin typeface="29LT Bukra" panose="020B0504040000000004" pitchFamily="34" charset="-78"/>
                <a:cs typeface="+mj-cs"/>
              </a:defRPr>
            </a:lvl1pPr>
          </a:lstStyle>
          <a:p>
            <a:r>
              <a:rPr lang="ar-SA"/>
              <a:t>مثال لعنوان رئيسـي</a:t>
            </a:r>
            <a:br>
              <a:rPr lang="ar-SA"/>
            </a:br>
            <a:r>
              <a:rPr lang="ar-SA"/>
              <a:t>للعرض التقديمي</a:t>
            </a:r>
            <a:endParaRPr lang="en-SA"/>
          </a:p>
        </p:txBody>
      </p:sp>
      <p:sp>
        <p:nvSpPr>
          <p:cNvPr id="12" name="Text Placeholder 27">
            <a:extLst>
              <a:ext uri="{FF2B5EF4-FFF2-40B4-BE49-F238E27FC236}">
                <a16:creationId xmlns:a16="http://schemas.microsoft.com/office/drawing/2014/main" id="{33A99665-A7E3-FD46-97BD-0656516062E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73466" y="6181345"/>
            <a:ext cx="4422579" cy="283440"/>
          </a:xfrm>
        </p:spPr>
        <p:txBody>
          <a:bodyPr lIns="0" tIns="0" rIns="0" bIns="0" anchor="b"/>
          <a:lstStyle>
            <a:lvl1pPr marL="0" indent="0">
              <a:buFontTx/>
              <a:buNone/>
              <a:defRPr sz="1400" b="0" i="0">
                <a:solidFill>
                  <a:schemeClr val="accent2"/>
                </a:solidFill>
                <a:latin typeface="29LT Bukra" panose="020B0504040000000004" pitchFamily="34" charset="-78"/>
                <a:cs typeface="29LT Bukra" panose="020B0504040000000004" pitchFamily="34" charset="-78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r" defTabSz="914400" rtl="1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/>
              <a:t>مكتب الوزير</a:t>
            </a:r>
            <a:endParaRPr lang="en-SA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1DB4F1C-4483-1C4C-8B04-0CF98E77587B}"/>
              </a:ext>
            </a:extLst>
          </p:cNvPr>
          <p:cNvSpPr/>
          <p:nvPr userDrawn="1"/>
        </p:nvSpPr>
        <p:spPr>
          <a:xfrm>
            <a:off x="9346282" y="6438884"/>
            <a:ext cx="2392001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جميع الحق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و</a:t>
            </a:r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ق محفوظة لـ وزارة الموارد البشرية والتنمية الاجتماعية 2020 © </a:t>
            </a:r>
          </a:p>
        </p:txBody>
      </p:sp>
    </p:spTree>
    <p:extLst>
      <p:ext uri="{BB962C8B-B14F-4D97-AF65-F5344CB8AC3E}">
        <p14:creationId xmlns:p14="http://schemas.microsoft.com/office/powerpoint/2010/main" val="37551613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8F376AE-BEB0-2D44-A112-092EE0E9CB9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62700"/>
            <a:ext cx="12192000" cy="4953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648BB3D-1DE9-924D-9F91-95B8C1598C1C}"/>
              </a:ext>
            </a:extLst>
          </p:cNvPr>
          <p:cNvSpPr/>
          <p:nvPr userDrawn="1"/>
        </p:nvSpPr>
        <p:spPr>
          <a:xfrm>
            <a:off x="0" y="4764024"/>
            <a:ext cx="6096000" cy="20939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S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6E76A8-2452-6942-BFD7-249AF11F4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934200" y="1024127"/>
            <a:ext cx="4419600" cy="5152835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en-SA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79E857AA-5F9B-8A49-A239-0376C5D0830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1024121"/>
            <a:ext cx="3413760" cy="5152835"/>
          </a:xfr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1pPr>
          </a:lstStyle>
          <a:p>
            <a: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ar-SA"/>
              <a:t>صورة</a:t>
            </a:r>
            <a:endParaRPr lang="en-SA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EFCAB7D-C65B-124D-B97B-44EBF5F16190}"/>
              </a:ext>
            </a:extLst>
          </p:cNvPr>
          <p:cNvSpPr/>
          <p:nvPr userDrawn="1"/>
        </p:nvSpPr>
        <p:spPr>
          <a:xfrm>
            <a:off x="232799" y="6438884"/>
            <a:ext cx="2392001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جميع الحق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و</a:t>
            </a:r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ق محفوظة لـ وزارة الموارد البشرية والتنمية الاجتماعية 202</a:t>
            </a:r>
            <a:r>
              <a:rPr lang="en-US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1</a:t>
            </a:r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 ©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A9D7DBB-77E3-2B40-9CD1-437A19ED056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04550" y="261938"/>
            <a:ext cx="69850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87563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377A7C7-2FCF-0B4C-B7AD-AE54DB6FB5C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62700"/>
            <a:ext cx="12192000" cy="4953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63B72E0-3840-AB4C-8176-D4A6D72E078A}"/>
              </a:ext>
            </a:extLst>
          </p:cNvPr>
          <p:cNvSpPr/>
          <p:nvPr userDrawn="1"/>
        </p:nvSpPr>
        <p:spPr>
          <a:xfrm>
            <a:off x="232799" y="6438884"/>
            <a:ext cx="2392001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جميع الحق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و</a:t>
            </a:r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ق محفوظة لـ وزارة الموارد البشرية والتنمية الاجتماعية 202</a:t>
            </a:r>
            <a:r>
              <a:rPr lang="en-US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1</a:t>
            </a:r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 ©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73ECA8B-8D87-A042-89B1-ED83A21E6B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04550" y="261938"/>
            <a:ext cx="69850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72441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BE9C442-B532-DD42-B563-DD0D3598F0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16572133-A496-7746-ABC7-C75406F408E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879013" y="683878"/>
            <a:ext cx="2717033" cy="834026"/>
          </a:xfrm>
          <a:prstGeom prst="rect">
            <a:avLst/>
          </a:prstGeom>
        </p:spPr>
      </p:pic>
      <p:sp>
        <p:nvSpPr>
          <p:cNvPr id="9" name="Text Placeholder 27">
            <a:extLst>
              <a:ext uri="{FF2B5EF4-FFF2-40B4-BE49-F238E27FC236}">
                <a16:creationId xmlns:a16="http://schemas.microsoft.com/office/drawing/2014/main" id="{4F739498-BBC5-3440-A8CA-0F85678C995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18989" y="6181345"/>
            <a:ext cx="1325880" cy="283440"/>
          </a:xfrm>
        </p:spPr>
        <p:txBody>
          <a:bodyPr lIns="0" tIns="0" rIns="0" bIns="0" anchor="b"/>
          <a:lstStyle>
            <a:lvl1pPr marL="0" indent="0">
              <a:buFontTx/>
              <a:buNone/>
              <a:defRPr sz="1400" b="0" i="0">
                <a:solidFill>
                  <a:schemeClr val="accent2"/>
                </a:solidFill>
                <a:latin typeface="29LT Bukra" panose="020B0504040000000004" pitchFamily="34" charset="-78"/>
                <a:cs typeface="29LT Bukra" panose="020B0504040000000004" pitchFamily="34" charset="-78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r" defTabSz="914400" rtl="1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/>
              <a:t>سبتمبر </a:t>
            </a:r>
            <a:r>
              <a:rPr lang="en-US"/>
              <a:t>2020</a:t>
            </a:r>
            <a:endParaRPr lang="en-SA"/>
          </a:p>
        </p:txBody>
      </p:sp>
      <p:sp>
        <p:nvSpPr>
          <p:cNvPr id="12" name="Text Placeholder 27">
            <a:extLst>
              <a:ext uri="{FF2B5EF4-FFF2-40B4-BE49-F238E27FC236}">
                <a16:creationId xmlns:a16="http://schemas.microsoft.com/office/drawing/2014/main" id="{33A99665-A7E3-FD46-97BD-0656516062E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73466" y="6181345"/>
            <a:ext cx="4422579" cy="283440"/>
          </a:xfrm>
        </p:spPr>
        <p:txBody>
          <a:bodyPr lIns="0" tIns="0" rIns="0" bIns="0" anchor="b"/>
          <a:lstStyle>
            <a:lvl1pPr marL="0" indent="0">
              <a:buFontTx/>
              <a:buNone/>
              <a:defRPr sz="1400" b="0" i="0">
                <a:solidFill>
                  <a:schemeClr val="accent2"/>
                </a:solidFill>
                <a:latin typeface="29LT Bukra" panose="020B0504040000000004" pitchFamily="34" charset="-78"/>
                <a:cs typeface="29LT Bukra" panose="020B0504040000000004" pitchFamily="34" charset="-78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r" defTabSz="914400" rtl="1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/>
              <a:t>مكتب الوزير</a:t>
            </a:r>
            <a:endParaRPr lang="en-SA"/>
          </a:p>
        </p:txBody>
      </p:sp>
      <p:sp>
        <p:nvSpPr>
          <p:cNvPr id="15" name="Subtitle 4">
            <a:extLst>
              <a:ext uri="{FF2B5EF4-FFF2-40B4-BE49-F238E27FC236}">
                <a16:creationId xmlns:a16="http://schemas.microsoft.com/office/drawing/2014/main" id="{4C59BF72-2AB0-6F48-A445-ECF873892AC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836406" y="4882920"/>
            <a:ext cx="3759639" cy="283440"/>
          </a:xfrm>
        </p:spPr>
        <p:txBody>
          <a:bodyPr/>
          <a:lstStyle>
            <a:lvl1pPr>
              <a:buNone/>
              <a:defRPr>
                <a:latin typeface="Effra" panose="020B0603020203020204" pitchFamily="34" charset="0"/>
                <a:cs typeface="Effra" panose="020B0603020203020204" pitchFamily="34" charset="0"/>
              </a:defRPr>
            </a:lvl1pPr>
          </a:lstStyle>
          <a:p>
            <a:r>
              <a:rPr lang="ar-SA"/>
              <a:t>مثال لكلمة الختام </a:t>
            </a:r>
            <a:endParaRPr lang="en-SA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B5EFDBB-C146-4543-949B-5A2E140F22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7840" y="3648456"/>
            <a:ext cx="6018206" cy="1167721"/>
          </a:xfrm>
        </p:spPr>
        <p:txBody>
          <a:bodyPr/>
          <a:lstStyle/>
          <a:p>
            <a:r>
              <a:rPr lang="ar-SA">
                <a:solidFill>
                  <a:schemeClr val="accent5"/>
                </a:solidFill>
              </a:rPr>
              <a:t>شكراً لكم</a:t>
            </a:r>
            <a:endParaRPr lang="en-SA">
              <a:solidFill>
                <a:schemeClr val="accent5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3831CEE-5FC8-0447-91AF-D194A87F33FF}"/>
              </a:ext>
            </a:extLst>
          </p:cNvPr>
          <p:cNvSpPr/>
          <p:nvPr userDrawn="1"/>
        </p:nvSpPr>
        <p:spPr>
          <a:xfrm>
            <a:off x="9346282" y="6438884"/>
            <a:ext cx="2392001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جميع الحق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و</a:t>
            </a:r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ق محفوظة لـ وزارة الموارد البشرية والتنمية الاجتماعية 2020 © </a:t>
            </a:r>
          </a:p>
        </p:txBody>
      </p:sp>
    </p:spTree>
    <p:extLst>
      <p:ext uri="{BB962C8B-B14F-4D97-AF65-F5344CB8AC3E}">
        <p14:creationId xmlns:p14="http://schemas.microsoft.com/office/powerpoint/2010/main" val="24239917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CFE6705-25F6-4FDE-AD7D-38E0CE7CA2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D13668-466B-4F5E-B1E0-DB1FE0D70306}" type="datetimeFigureOut">
              <a:rPr lang="en-US" smtClean="0"/>
              <a:t>8/6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4F277E4-BA2D-492F-870A-9895D5C0F2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565FFD-1C48-454F-B3F3-B83A353E91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861A108-5E9A-4CF2-932F-C08786A2A57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2" descr="data:image/png;base64,iVBORw0KGgoAAAANSUhEUgAAAZYAAAB8CAMAAAB9jmb0AAABO1BMVEX////3lB38thQrtXQVgoUAfH8Aen0UiIumzM7s9vYGf4IAd3r8swD3jwD8tAD7/f3P4+TC3N2519d0ra9cnZ9bo6Xi7/Cdx8iFubpHmpzZ5uYqi46Ltrfm8/N7tLYbsm6yzc5npqh4q63+9u05k5X/+/X4qVP97d3a8eWj3L/5vIDy+/f+4q/9y2UAr2aFsrS45M75t3H70af4njf94sf6x5X4o0T82rj5r2L3mSfl9e3M7Nz959P+68P+7s2Gz6j915FqyJn8vDH5u3z7y534pkv/9N6X1rVQwYs2un3+4qn9z339xE391pCHybT7tC75pi9cxJGxu1ZdunDKvEvUu0L6rzlaunHfzHWzxnKPvGM7tnH8xVR8u2jtujDCu0zeuTauv16cvmTi2L4Im44xsIZCrY0ylI39zWz5KXNYAAATMUlEQVR4nO2da2PbuJWGKRsgRcAWJcoiJdGSpVqOk9jxJE1mcnUuno4TJ+lOp9O0u53p7ux22ub//4LiQoI3gHfZzprvB0uWQBDkI+DgAAegprXKljm0rabyevRgv6msbrxsDJf9BvJ5cXd7+7cN5NOKawmR7nXrVZmDxw+3t7e/a6hErYhmAAAE0dypnMMhqSidTmf7sMFSterqBAyAVduywwcMSmf764bLddM1QZQLqTKT8mAePeFQOp2HayjZjdYUAlANzItbAZTO9qM1le7mahxwoWCmhQ8Lmi9G5cEay3dDZXkIhGDmZqGDDu52BJRO52nrsjSvgQ5CQeAWOOTx0wiUTuuyrEVLCKJgVnkmhhiVTpTKk0sp5Y2TiaJYAEKZLdnB19sxKp1O67KsR109xgVAb6BM++ibBJTWZVmbJvH6QirMWDEgczcBpdP55uByy3qDNE1UF1JhpH3lw2RVaV2WtWoMk1wQ6KZS/S4FpbP97RWU9sYo6ryICrOcxdIcPElTaV2W9WqAU1gA3o2mOHwoobL9+KoKfEO0TFUXNIqa/cdpJq3Lsn6ZSSzIi07CfC2pKq3LcglKOi8o6ruk+8Wssvzuykp7cxR3XuA4/EZq7Im+a12W9SvmvKBJaFj2v5NTaV2WS1HMeQkNy76sC0ap3L3Cst4kGaIZg6EvKe0YU7UuyyVJzLygkfjs8KmCSuuyXJoC5wWJJuzwqRxK67JconznBYoZSiWV1mW5THUh64UF/6qptC7LpYo6L3owa6zqgxG1sa1Nyzoienb7+fPn94nIy+1nR0eWxf2UKQJo6Sc8UPgrtLK88JMQ7Z+/fHl6enx8enr68uX5Pvnkaq7rC5VlHT2/8/bVm3cXm3snJyd7J3tMJ+yfvYt3b97euX9bGwMY2HuFb0+pfLv/8v3rD/c+nm30tpLqbXy89+H370/3Wzw5okBe/bB5wkhsysUZnbx79x/+QfJxMKanZ+z+93obUpEv6PcbHz8QOFd64ddXR/ffvrnI4pHQyTN+nGQqUuh7OY40Hgrn3uurYDNrbEFV8zq6/4oRKQaEV5pX/NDHGVT+UIxKAIey+Xx8uWjmGFVfHLJW3X777qQUEY7liB18qIZCmrBSWAI2H1+/rHU9g2FX0/rDIlGfmoYjztf10dH9N5sVmBAqb9nx+2o3snATJiGz8eG08iU5GGLb0iFeFEk90nFGcKhhIJO/ZDZ1NjDmZYo4RQYdtRrwF4lI67VZhUpQWdSdsLJNWJzL2fvzMtcZu2YMcHeGgb6bn9YyNdux1LGhBtLplxDhbCw6HJYrItrR6NAiUmChel6BjF9ZFFPEXGdVmXysZ1/GcGSRP5P8NQUOxl1yj/BYlcAAHAvQs7FAVA6LXgAL0fO3pCkrg+WEVZZHWVT+XI3Jz8eX58a4EK20OQTKunDFWDRq+C+Kk+HdsP0MKJ2nVZjcO71U19LRSW2xMZ6oElw9FqLbd4qS4T5LlmEpa+97W73P1c18XM7Apgo6vqZtc6tujufjeMvGzMqALWwnqYJYEYsczzFIsJB0dl/8Z7OUUSx9du7E9hL97tyNfFQOC9GzO0U6y3tvaNrfZlEpZe8Jkxpdr7gsF+hQJxI9sQHGX7E3pgGNmeq4KdRX/o2zPN13ZiRYHJI71Ic+XqRjM4LFWer85CDqDPU9HSIIkeiJl8aiFSKz91zLa8LOCjMh3eHf13NUonI8CBAV0Bf+RwMIeafM9JDn305rseBf9xcLHts+BUhgWSGgxsIyh35GBoARLF2I2MkB8CL4+5ikJ2CA6FpUwaLRbvMPGa3ZT3/coIluNdGEka5wTecxLnLnke4Nh8MVysRiYh2wN7sY8x/xNAziycQyI5lPIPB7xDEsNvkYrpbDJUARLBZF5Xa7K9K18JvJilg05mfKB2N+/FNv67XWRBNG3ZPXld0TueYQecyQ7MIcLMDTeDo/SqQoFp4l8nOKYrE8pLP1cfQ8IRbS3eNpR4jB0Opg0eRkfvzU621sEbdiP4tKAZeFuifVXUaVyA0BvE1aLxZtiGCfJwixkL9LcZ4QywRBXklMwBJrNbFonEykOfvbL3SIvvdRy2nC8lwWxmQdQ5IODubm1ozFhfqAJwixjKE/XRvHYgDsvyMNK09QFwstoxgEYDWF2oPjnCYs22WhLuNamBD19SD2ds1YuhIsQ4RNcZ4QCwaG/26JoM3PVR+Lxshc7P3lUzCZtXWgHWS1YFn2nrona3TjyfVeTm2RYZlLa4uFAfDfDpvFQnTwnxvBDGPvnqZ9W8ne97Y2Pv3XUb2CZMs0Grct9P4Ww7IIvJcYlgUUoSiNYzk+2xI3d+tUe5HZhJ3JmfTOPv31p83Ni/u1SpKjIUSrZE+sL/NbUlicML6KYuG3tVRtoSbdteLnIX4UAMDgP5WGsZz/vBW5v1ua9rBsE0aY/OlvP/m+6A+3a5QlRw5151bL+XxCXkZcExBiAf5nI+LysdcVACs/FTCCLw0AhnMqkMBiLf0UxHqnsGiuThwWcuBQHD8nLgyi/u2EHugBNOKfovpYDj7EIiRIP6yky9Lr/bdgwrjsvVpfSzY1IOJePnf2uU8eYAk/BP5bELwRn0TfgkQjZnkwSCLBoo31dFZw5WIEEh+D2lhOz7ZiN5n0w8q4LITJ/0SZcDBrbMnMsafrOowpGBPz6P6BpaRjigXr/tD/kSdyxlEsGPOexmCEaAIgzkO6IKZmT6CezJdhyRi7ztb552Qw0dZ55txXzGXZIkx+TDLhYN6sr8KY00E3IdFDMtzkVzlixsK2/fUiVuQL1ingWJxgjJqco293XQA8fh57wGyM5QzsRL7UyMy6tnpzliwdb6QjvA6KuSyk2/XLH39Uj3ZurtX0SzVFYjSyIZnEmsT+Z39Jm7bT6Gni2v+8lYLS+5ARrSfsfQ4Tv8I8W2PZqawB/Q0P2C/Smjr9HSTic5VyCocnWdPpdITi1mFnZ+x2h/EFpU0raVX4DX+da+8pk//NYcItzPP1FZ5qTkeHx5jt5tCHCBL7m7cF2i4CdsHcTcwsfyzHIbUb1MwX25uwil7LQ1RvZTVhZ5zJX/KZcDBv11Z6KoP0VzXS+VlpdNKD2t/09jRx0XmBolZ4SnNMbHjTxXS+C+6sLSIw7quEOsug0vm+d/bL/xVlsv6GbE4DW/zaMnPnczv/bo10XDTii05B24laYQ3c+bg7XVv87KnE1jP9OasJ+/TXMkzW3pBx29Ivsz2wOXavcUzyewWU7Mry91//cVESCwFz56ov9ouRpAeWX1m272q72CtPZu/VNf59XiMdfFRSOcsIOX54wMb4UGky63Qt///o/EzVgmVXFrr8vg/5nkm//vNis3iU5t6FevCSRXJlRAmvXeZVF4DrXGXsqdSVxd+nfQiD3az+VYLM3qbK8E9XwNVmE6DaqTSQNRj0JUmsLvElrX6xreedwcAJX4ICeKQAzqrAZtyR3oJDy2JGCmQOWO/Df6mgU9WCOqrv1ZXlKV9+b0Y26QGUTFEphmKGOsCWS/7k9G0dhA3JL3qFsa0tcbE1FXMemzQPQpSYlhBgXoq8wyeib93FeKg5AIdOZR9j7jzhSSVDeqw0K1R/UFeWYJ92O7Z9UnEye3IuLoYeddJk9zwqxwhnnkJZGMClRjy8zDEXiw8camPIViCNYWQjG+L2QIOWwsi9nUAMxOwg5Fld3R/7p+pD5qX2EdqpguV9JhV173j7lshiJ7G1OCHzrjoXqzt2NMse5zVDcizaEKGBNs4ZUJlhHdCbJcVijZekALvL/HZwF6EFf9eFcK71oxGv9bBkU8mqLC9EHo5kS95CZGo5MAos2pROlzjZVW2GkKHEUqYMgsKUubFuiLIWlhwqaoMf2zHMTXEpSKYCF0sY2TgWy1JeffqrWlisjFOFqoMlk0pvK6N3/DAWYiTZKplNl/7r1x8uMmPOJVwse3fJFNxzdynaE6u7XHmTr9gChRgWe2QAYxltuNzliLXzpku/2lnE7k0mFrPrFyA4ZNfPimn6G88wVrHxmq+WI1FrussR73mlsJDrGrJslSsIAmVQIUx+Pj5/oqws8R3D+pKtkvmGSjt0BW0GmZR9cZHuT54H9/w3MBicn3p85lyny00jWMwRG3FHemQf4CHE9FaT9p5/FVvAl4HFGtOBeiph8ncgFsBdzL6DKGJ5JhCL/74KVnMksdDFHvy68kZPlX0wwuTeaVbUcerRUkNJM8ZrDCnwUdZSzQSXkQ4Qm8AAQGBByJ8BBjxwAULa/wmxWCMI2HoG8isIS4TYrTY9yEIvAIzOUqqxWCsYFCDEEkQV0Y4wzQvQNCHmHaSHWBCUYbGW4XXlYDmVUyFMPvsL59S7VSQjVy1pKwbE/mOWmsxe1K+ckxu8tAcDmzSLKSxjupihP+0vVt0YlgXpFI9npkMO1sXP2seijZd9k30VXRmsxrKkCQekAEiGxSQ8dqbmrAtBZNazAJaxTq5rQfL1UA6WlzInMsKESDX/JXm0lJ16cIVfW1YiiYrMXjgOY5IbzCd8ZViM2MxsiIXcNg5/GJnRCrD4Ir2SyDylEsuUFIDdYlOKxYX+CcjlYlFd8rHMyI1gWYTRmwpJRlySexYcqraivCXJL/mcF8ElOvbw/K20ByDGLRdBnLcpwUI8xWhwg8BiCj6EqnDNE1iowxfOwSuxuME7OZZlsEKChuKLipmPZaEjPhyQh+UgOTopWTinasMiLkuomcLqJzfyuJ0ms/dO9Hn8gFIpFgfHghsEFgeLqBM/UpUqiaWvg9BMK7EsA4ssxWJNRKnmKLywfCzj4LrysHzsJZhIFs4p+mGKR0u58mZMMlF++06CDF8vS+8PCiPg040YjrSIESzTMFJxgkT8QxILvblicjgLC++/yrGsoljElhmFsPRFDhlYPmzFmcgWaan6YQ8VqyLkzgsAsn76sziZYO+lhWhDZFg8pEeyEFhsKNBnYRmQNjDIUjn4sgt9AnIsSGxs68IyWFwYdH0ysQiHJWuvFcX+VMp92vvy6qIrRqdiy5tPeDe5H9w6qckfhh1VjWHh47U7pPfrf56FhS6dC6qLNeChZCksto48RkOKhXbA/P7cAsYaMXGrd4O0MSz0McQsSSYWv2ucs/+NfEVLxtNw5c5LRvxcZHnzCe+O0bnO7oz0aOmKSJOLDj6yN+SuGP5nJq8tjmn2Ryz+1zUt8ildtOgnINbZNWOiq4Lp3bfCj3wLEekge6R5W9ACECwznsgiWLrk1WFjTHDp0AxIn2zXz8SiP4YgR1pb2JtBrIM8Iu6WS0o7y8Cy7zPJXsx48I28DVMfo3BevIyTcDIMDf+R6nRBu66zG6BzoeAt+RDxj/CIYmGf83XxfgokOUqI5klbQRuLjxBIYnGwugBs+b9fBCTKEj9VpLBRLDMQZqvC8nOvyP43ctOS+TRcW15dckbIj+6/odsAcrPv0PEVuY2KiM6mUCwse+w6AOYfwxNryScCcyy6aPCmhrIACI/MlV7wTCCGRXNWOMhWgeX11ta9AosZpUtapC5LqB1ZmX0bmCWLLm/24y3toWfkimKBmIi87dPxyImBcBFpbA1EROnZycVScdIRtRq26tu0GBZd92cnB+y6lFheFmGiKXZv3c7ep30mw5IfnM10/80al4xdF1lG3uBLjg5kIy+5T8OVzrxkGpebogFtyq0xzDa1uZJuu/Mw97CVrL5UjO1xaGCJM28gFtUeLqoc1p8TkzOdN7LhKOmmeitq+EttcZmSbGlxgUdL9WXVpVpIjrWCeEz+6KX2U5MWCkO9wiKsGYK4a3oQN8GFPvaOTQnUiz+TWPwMlyXUPM2l4kQ58fT1JfErs4NYisjGqFiAUlxTiHR3hpBe7wfO5ZAfmY6NYe7cZLZkFr/I/iBmegym3PaBobrGxNFsY1V76Yg1Xs2rtIRjY2RqrjGpeSv9QljmtEgQQLbS45QFHy2Vdl5iI4xlxK6i/qXQTGocdp3C2PdT+yPkuCyh0s/aBfkHtSqkdEcsx2UJ5aRt/jXd0/7LU2pmMtdlCZVyXmC1teitUkqN6ue7LKGSE8iw6FLeVjlK7ltR6mm4/SSWa/gEiC9Tif5xIZcl1DjejKEmOv6tiB4ksJTbPi/hvNTdca5VoLjbUvppuHHnpbLj0iqug+8quSyhlvFmbA1FvImKe5OFXZZQCedlDUW8iYo9aaqEyxIqFjaG6g2btvIVw1LGZRGyos4LamSwr1X0aXmlXJZQUeelHX1pRpGxl5IuS6iI81JxIqxVQtEhsao7fkeclxZLMwqxlHZZQoVrXnK3wGtVSAJLBZcllHBe2iHkZhTWlvIuSyjhvLRYmlGApZLLEiqYeWmxNKMAyzf1sgmcl9a2NCMfS0WXJZQfNtb2xJoRn8rf/rZ2Rtx5yQvab1VMfPDlaf0HR1nMeWm9/GbEsNRwWUKx1STtUGUzokvBtp80khUNG0PXKQTuS9atmi5LKBO18y2N6UldlyVUV29XuDSlB9s1XZaIJrDiE35aJXW3tssSaoprr1BpxfV11VkWmea7+WlaFdGjJp91axUcEvs3IXf7WlrWNDcAAAAASUVORK5CYII=">
            <a:extLst>
              <a:ext uri="{FF2B5EF4-FFF2-40B4-BE49-F238E27FC236}">
                <a16:creationId xmlns:a16="http://schemas.microsoft.com/office/drawing/2014/main" id="{FD792378-AC0F-4365-BAA9-CC7C70A2EF3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-452505" y="5136312"/>
            <a:ext cx="1869191" cy="570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F669A08-F61C-4FC6-A26B-3E9B83991D9B}"/>
              </a:ext>
            </a:extLst>
          </p:cNvPr>
          <p:cNvSpPr txBox="1"/>
          <p:nvPr userDrawn="1"/>
        </p:nvSpPr>
        <p:spPr>
          <a:xfrm>
            <a:off x="834243" y="1"/>
            <a:ext cx="137306" cy="6858000"/>
          </a:xfrm>
          <a:prstGeom prst="rect">
            <a:avLst/>
          </a:prstGeom>
          <a:gradFill>
            <a:gsLst>
              <a:gs pos="0">
                <a:srgbClr val="F7941D"/>
              </a:gs>
              <a:gs pos="14000">
                <a:srgbClr val="FCB614"/>
              </a:gs>
              <a:gs pos="53000">
                <a:srgbClr val="42B58C"/>
              </a:gs>
              <a:gs pos="100000">
                <a:srgbClr val="158285"/>
              </a:gs>
            </a:gsLst>
            <a:lin ang="5400000" scaled="1"/>
          </a:gradFill>
        </p:spPr>
        <p:txBody>
          <a:bodyPr wrap="square" rtlCol="0">
            <a:spAutoFit/>
          </a:bodyPr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0E99F57-38F2-426F-B0D7-8022127719C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63532" y="744444"/>
            <a:ext cx="1087287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8432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phic 17">
            <a:extLst>
              <a:ext uri="{FF2B5EF4-FFF2-40B4-BE49-F238E27FC236}">
                <a16:creationId xmlns:a16="http://schemas.microsoft.com/office/drawing/2014/main" id="{0A3E9A02-D185-6F42-9250-0A78A1C17F4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879013" y="683878"/>
            <a:ext cx="2717034" cy="834026"/>
          </a:xfrm>
          <a:prstGeom prst="rect">
            <a:avLst/>
          </a:prstGeom>
        </p:spPr>
      </p:pic>
      <p:pic>
        <p:nvPicPr>
          <p:cNvPr id="20" name="Picture 3">
            <a:extLst>
              <a:ext uri="{FF2B5EF4-FFF2-40B4-BE49-F238E27FC236}">
                <a16:creationId xmlns:a16="http://schemas.microsoft.com/office/drawing/2014/main" id="{CF941AA7-CABA-E249-8DF8-FFFE5FF684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Subtitle 2">
            <a:extLst>
              <a:ext uri="{FF2B5EF4-FFF2-40B4-BE49-F238E27FC236}">
                <a16:creationId xmlns:a16="http://schemas.microsoft.com/office/drawing/2014/main" id="{F69D9689-7B4B-C04E-B9ED-4ACC4D7F628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836406" y="4882920"/>
            <a:ext cx="3759639" cy="283440"/>
          </a:xfrm>
        </p:spPr>
        <p:txBody>
          <a:bodyPr lIns="0" tIns="0" rIns="0" bIns="0" anchor="b">
            <a:noAutofit/>
          </a:bodyPr>
          <a:lstStyle>
            <a:lvl1pPr marL="0" indent="0" algn="r">
              <a:buNone/>
              <a:defRPr sz="1600" b="0" i="0">
                <a:solidFill>
                  <a:schemeClr val="accent4"/>
                </a:solidFill>
                <a:latin typeface="+mj-lt"/>
                <a:cs typeface="+mj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ar-SA"/>
              <a:t>مثال لعنوان فرعي </a:t>
            </a:r>
            <a:r>
              <a:rPr lang="ar-SA" err="1"/>
              <a:t>لوريم</a:t>
            </a:r>
            <a:r>
              <a:rPr lang="ar-SA"/>
              <a:t> </a:t>
            </a:r>
            <a:r>
              <a:rPr lang="ar-SA" err="1"/>
              <a:t>ابسوم</a:t>
            </a:r>
            <a:endParaRPr lang="en-SA"/>
          </a:p>
        </p:txBody>
      </p:sp>
      <p:sp>
        <p:nvSpPr>
          <p:cNvPr id="13" name="Text Placeholder 27">
            <a:extLst>
              <a:ext uri="{FF2B5EF4-FFF2-40B4-BE49-F238E27FC236}">
                <a16:creationId xmlns:a16="http://schemas.microsoft.com/office/drawing/2014/main" id="{30C52D38-BF22-2647-A21E-FAC1AFA389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18989" y="6181345"/>
            <a:ext cx="1325880" cy="283440"/>
          </a:xfrm>
        </p:spPr>
        <p:txBody>
          <a:bodyPr lIns="0" tIns="0" rIns="0" bIns="0" anchor="b"/>
          <a:lstStyle>
            <a:lvl1pPr marL="0" indent="0">
              <a:buFontTx/>
              <a:buNone/>
              <a:defRPr sz="1400" b="0" i="0">
                <a:solidFill>
                  <a:schemeClr val="bg1"/>
                </a:solidFill>
                <a:latin typeface="29LT Bukra" panose="020B0504040000000004" pitchFamily="34" charset="-78"/>
                <a:cs typeface="29LT Bukra" panose="020B0504040000000004" pitchFamily="34" charset="-78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r" defTabSz="914400" rtl="1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/>
              <a:t>سبتمبر </a:t>
            </a:r>
            <a:r>
              <a:rPr lang="en-US"/>
              <a:t>2020</a:t>
            </a:r>
            <a:endParaRPr lang="en-SA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FAFC449-1F5D-F641-8B2F-22FD168A16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7840" y="3648456"/>
            <a:ext cx="6018206" cy="1167721"/>
          </a:xfrm>
        </p:spPr>
        <p:txBody>
          <a:bodyPr/>
          <a:lstStyle>
            <a:lvl1pPr marL="0" marR="0" indent="0" algn="r" defTabSz="914400" rtl="1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>
                <a:ln>
                  <a:noFill/>
                </a:ln>
                <a:solidFill>
                  <a:schemeClr val="bg1"/>
                </a:solidFill>
                <a:latin typeface="29LT Bukra" panose="020B0504040000000004" pitchFamily="34" charset="-78"/>
                <a:cs typeface="+mj-cs"/>
              </a:defRPr>
            </a:lvl1pPr>
          </a:lstStyle>
          <a:p>
            <a:r>
              <a:rPr lang="ar-SA"/>
              <a:t>مثال لعنوان رئيسـي</a:t>
            </a:r>
            <a:br>
              <a:rPr lang="ar-SA"/>
            </a:br>
            <a:r>
              <a:rPr lang="ar-SA"/>
              <a:t>للعرض </a:t>
            </a:r>
            <a:r>
              <a:rPr lang="ar-SA" err="1"/>
              <a:t>التقديمي</a:t>
            </a:r>
            <a:endParaRPr lang="en-SA"/>
          </a:p>
        </p:txBody>
      </p:sp>
      <p:sp>
        <p:nvSpPr>
          <p:cNvPr id="19" name="Text Placeholder 27">
            <a:extLst>
              <a:ext uri="{FF2B5EF4-FFF2-40B4-BE49-F238E27FC236}">
                <a16:creationId xmlns:a16="http://schemas.microsoft.com/office/drawing/2014/main" id="{9625CCF4-D379-0648-B59E-9573AC6314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73466" y="6181345"/>
            <a:ext cx="4422579" cy="283440"/>
          </a:xfrm>
        </p:spPr>
        <p:txBody>
          <a:bodyPr lIns="0" tIns="0" rIns="0" bIns="0" anchor="b"/>
          <a:lstStyle>
            <a:lvl1pPr marL="0" indent="0">
              <a:buFontTx/>
              <a:buNone/>
              <a:defRPr sz="1400" b="0" i="0">
                <a:solidFill>
                  <a:schemeClr val="bg1"/>
                </a:solidFill>
                <a:latin typeface="29LT Bukra" panose="020B0504040000000004" pitchFamily="34" charset="-78"/>
                <a:cs typeface="29LT Bukra" panose="020B0504040000000004" pitchFamily="34" charset="-78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r" defTabSz="914400" rtl="1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/>
              <a:t>مكتب الوزير</a:t>
            </a:r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42031147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eparat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80C09DCD-F004-E942-B9EA-75D9EA28C54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9050"/>
            <a:ext cx="12192000" cy="68199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37FD271-AE73-C94D-A7FE-6D4FB8357F55}"/>
              </a:ext>
            </a:extLst>
          </p:cNvPr>
          <p:cNvSpPr/>
          <p:nvPr userDrawn="1"/>
        </p:nvSpPr>
        <p:spPr>
          <a:xfrm>
            <a:off x="5980176" y="4685355"/>
            <a:ext cx="5615870" cy="14662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SA">
              <a:solidFill>
                <a:schemeClr val="accent5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6F631CF-B958-C74B-A289-5649599D46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980176" y="4850894"/>
            <a:ext cx="5615870" cy="635506"/>
          </a:xfrm>
        </p:spPr>
        <p:txBody>
          <a:bodyPr lIns="0" tIns="0" rIns="0" bIns="0" anchor="b" anchorCtr="0">
            <a:noAutofit/>
          </a:bodyPr>
          <a:lstStyle>
            <a:lvl1pPr algn="r">
              <a:defRPr sz="3200">
                <a:solidFill>
                  <a:schemeClr val="accent2"/>
                </a:solidFill>
              </a:defRPr>
            </a:lvl1pPr>
          </a:lstStyle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ar-SA"/>
              <a:t>مثال لفاصل داخلي</a:t>
            </a:r>
            <a:endParaRPr lang="en-SA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7DD344F2-757D-9C41-90FB-3D266A40AC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836407" y="5577841"/>
            <a:ext cx="3759639" cy="283440"/>
          </a:xfrm>
        </p:spPr>
        <p:txBody>
          <a:bodyPr lIns="0" tIns="0" rIns="0" bIns="0" anchor="t">
            <a:noAutofit/>
          </a:bodyPr>
          <a:lstStyle>
            <a:lvl1pPr marL="0" indent="0" algn="r">
              <a:buNone/>
              <a:defRPr sz="1400" b="0" i="0">
                <a:solidFill>
                  <a:schemeClr val="accent2"/>
                </a:solidFill>
                <a:latin typeface="29LT Bukra" panose="020B0504040000000004" pitchFamily="34" charset="-78"/>
                <a:cs typeface="29LT Bukra" panose="020B0504040000000004" pitchFamily="34" charset="-7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ar-SA"/>
              <a:t>مثال لعنوان فرعي لوريم ابسوم</a:t>
            </a:r>
            <a:endParaRPr lang="en-SA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161CE712-DAC8-E14B-9C33-A476403D744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848089" y="645567"/>
            <a:ext cx="1747958" cy="932749"/>
          </a:xfrm>
        </p:spPr>
        <p:txBody>
          <a:bodyPr lIns="0" tIns="0" rIns="0" bIns="0" anchor="t" anchorCtr="0"/>
          <a:lstStyle>
            <a:lvl1pPr marL="0" indent="0" rtl="1">
              <a:buFontTx/>
              <a:buNone/>
              <a:defRPr sz="6000" b="0" i="0">
                <a:solidFill>
                  <a:schemeClr val="accent4"/>
                </a:solidFill>
                <a:latin typeface="29LT Bukra" panose="020B0504040000000004" pitchFamily="34" charset="-78"/>
                <a:cs typeface="29LT Bukra" panose="020B0504040000000004" pitchFamily="34" charset="-78"/>
              </a:defRPr>
            </a:lvl1pPr>
          </a:lstStyle>
          <a:p>
            <a:pPr marL="0" lvl="0" indent="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01</a:t>
            </a:r>
            <a:endParaRPr lang="en-SA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BF7A3AA-35FC-584D-9472-95E627C02B21}"/>
              </a:ext>
            </a:extLst>
          </p:cNvPr>
          <p:cNvSpPr/>
          <p:nvPr userDrawn="1"/>
        </p:nvSpPr>
        <p:spPr>
          <a:xfrm>
            <a:off x="9293497" y="6438884"/>
            <a:ext cx="2392001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جميع الحق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و</a:t>
            </a:r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ق محفوظة لـ وزارة الموارد البشرية والتنمية الاجتماعية 2020 © </a:t>
            </a:r>
          </a:p>
        </p:txBody>
      </p:sp>
    </p:spTree>
    <p:extLst>
      <p:ext uri="{BB962C8B-B14F-4D97-AF65-F5344CB8AC3E}">
        <p14:creationId xmlns:p14="http://schemas.microsoft.com/office/powerpoint/2010/main" val="14763146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&amp;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8FF1CAF3-D45D-0E4C-8F0D-AF3A688BB21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62700"/>
            <a:ext cx="12192000" cy="4953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45CB068-1242-B949-9A45-44E272D53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5600" y="836613"/>
            <a:ext cx="4648200" cy="854075"/>
          </a:xfrm>
        </p:spPr>
        <p:txBody>
          <a:bodyPr lIns="0" tIns="0" rIns="0" bIns="0"/>
          <a:lstStyle>
            <a:lvl1pPr>
              <a:lnSpc>
                <a:spcPct val="100000"/>
              </a:lnSpc>
              <a:defRPr sz="2400">
                <a:latin typeface="29LT Bukra" panose="020B0504040000000004" pitchFamily="34" charset="-78"/>
                <a:cs typeface="29LT Bukra" panose="020B0504040000000004" pitchFamily="34" charset="-78"/>
              </a:defRPr>
            </a:lvl1pPr>
          </a:lstStyle>
          <a:p>
            <a:r>
              <a:rPr lang="ar-SA"/>
              <a:t>مثال لعنوان الصفحة</a:t>
            </a:r>
            <a:endParaRPr lang="en-S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6E76A8-2452-6942-BFD7-249AF11F4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705600" y="1825625"/>
            <a:ext cx="4648200" cy="4351338"/>
          </a:xfrm>
        </p:spPr>
        <p:txBody>
          <a:bodyPr lIns="0" tIns="0" rIns="0" bIns="0"/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en-S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C3D379-DD63-FD48-9C4B-53812521AD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S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2A3573-EBF7-0C4E-B8B4-16AF0713A3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algn="ctr" defTabSz="914400" rtl="0" eaLnBrk="1" latinLnBrk="0" hangingPunct="1"/>
            <a:endParaRPr lang="en-SA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70E11C0D-3313-4F49-9FAB-7362151FB9A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965700" cy="6858000"/>
          </a:xfr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</a:lstStyle>
          <a:p>
            <a: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ar-SA"/>
              <a:t>صورة</a:t>
            </a:r>
            <a:endParaRPr lang="en-SA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0F21E63-F7B3-F747-BD8A-098F649057CA}"/>
              </a:ext>
            </a:extLst>
          </p:cNvPr>
          <p:cNvSpPr/>
          <p:nvPr userDrawn="1"/>
        </p:nvSpPr>
        <p:spPr>
          <a:xfrm>
            <a:off x="232799" y="6438884"/>
            <a:ext cx="2392001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جميع الحق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وق </a:t>
            </a:r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محفوظة لـ وزارة الموارد البشرية والتنمية الاجتماعية 202</a:t>
            </a:r>
            <a:r>
              <a:rPr lang="en-US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1</a:t>
            </a:r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 ©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D358A93-140A-6043-9F7F-D16AB047780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04550" y="261938"/>
            <a:ext cx="69850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4165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ntent &amp; Pic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4E3B32F-4F76-5E4C-B567-B7E0A67AFE1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62700"/>
            <a:ext cx="12192000" cy="4953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45CB068-1242-B949-9A45-44E272D53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5600" y="836613"/>
            <a:ext cx="4648200" cy="854075"/>
          </a:xfrm>
        </p:spPr>
        <p:txBody>
          <a:bodyPr/>
          <a:lstStyle>
            <a:lvl1pPr>
              <a:lnSpc>
                <a:spcPct val="100000"/>
              </a:lnSpc>
              <a:defRPr sz="2400" b="0" i="0">
                <a:solidFill>
                  <a:schemeClr val="accent4"/>
                </a:solidFill>
                <a:latin typeface="29LT Bukra" panose="020B0504040000000004" pitchFamily="34" charset="-78"/>
                <a:cs typeface="29LT Bukra" panose="020B0504040000000004" pitchFamily="34" charset="-78"/>
              </a:defRPr>
            </a:lvl1pPr>
          </a:lstStyle>
          <a:p>
            <a:r>
              <a:rPr lang="ar-SA"/>
              <a:t>مثال لعنوان الصفحة</a:t>
            </a:r>
            <a:endParaRPr lang="en-S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6E76A8-2452-6942-BFD7-249AF11F4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705600" y="1825625"/>
            <a:ext cx="4648200" cy="4351338"/>
          </a:xfrm>
        </p:spPr>
        <p:txBody>
          <a:bodyPr/>
          <a:lstStyle>
            <a:lvl1pPr>
              <a:lnSpc>
                <a:spcPct val="100000"/>
              </a:lnSpc>
              <a:defRPr sz="16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1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en-S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C3D379-DD63-FD48-9C4B-53812521AD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S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2A3573-EBF7-0C4E-B8B4-16AF0713A3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rtl="0"/>
            <a:endParaRPr lang="en-SA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70E11C0D-3313-4F49-9FAB-7362151FB9A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965700" cy="6858000"/>
          </a:xfr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</a:lstStyle>
          <a:p>
            <a: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ar-SA"/>
              <a:t>صورة</a:t>
            </a:r>
            <a:endParaRPr lang="en-SA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B581033-3AD9-4542-B4BD-542517A42183}"/>
              </a:ext>
            </a:extLst>
          </p:cNvPr>
          <p:cNvSpPr/>
          <p:nvPr userDrawn="1"/>
        </p:nvSpPr>
        <p:spPr>
          <a:xfrm>
            <a:off x="232799" y="6438884"/>
            <a:ext cx="2392001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جميع الحق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و</a:t>
            </a:r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ق محفوظة لـ وزارة الموارد البشرية والتنمية الاجتماعية 202</a:t>
            </a:r>
            <a:r>
              <a:rPr lang="en-US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1</a:t>
            </a:r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 ©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8F4184C-614D-9044-86FA-36E2FB66E17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04550" y="261938"/>
            <a:ext cx="69850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47555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0162E65-497E-EF49-96AA-5A77369FBBF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62700"/>
            <a:ext cx="12192000" cy="4953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648BB3D-1DE9-924D-9F91-95B8C1598C1C}"/>
              </a:ext>
            </a:extLst>
          </p:cNvPr>
          <p:cNvSpPr/>
          <p:nvPr userDrawn="1"/>
        </p:nvSpPr>
        <p:spPr>
          <a:xfrm>
            <a:off x="0" y="0"/>
            <a:ext cx="49657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endParaRPr lang="en-S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5CB068-1242-B949-9A45-44E272D53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5600" y="836613"/>
            <a:ext cx="4648200" cy="854075"/>
          </a:xfrm>
        </p:spPr>
        <p:txBody>
          <a:bodyPr/>
          <a:lstStyle>
            <a:lvl1pPr>
              <a:defRPr sz="2400" b="0" i="0">
                <a:latin typeface="29LT Bukra" panose="020B0504040000000004" pitchFamily="34" charset="-78"/>
                <a:cs typeface="29LT Bukra" panose="020B0504040000000004" pitchFamily="34" charset="-78"/>
              </a:defRPr>
            </a:lvl1pPr>
          </a:lstStyle>
          <a:p>
            <a:r>
              <a:rPr lang="ar-SA"/>
              <a:t>مثال لعنوان الصفحة</a:t>
            </a:r>
            <a:endParaRPr lang="en-S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6E76A8-2452-6942-BFD7-249AF11F4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705600" y="1825625"/>
            <a:ext cx="4648200" cy="4351338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4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100"/>
            </a:lvl4pPr>
            <a:lvl5pPr>
              <a:lnSpc>
                <a:spcPct val="100000"/>
              </a:lnSpc>
              <a:defRPr sz="1100"/>
            </a:lvl5pPr>
          </a:lstStyle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en-SA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836A574-E170-3844-9A09-D7763939458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53440" y="1825625"/>
            <a:ext cx="3578711" cy="4351338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en-SA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7942290-E911-8149-94AF-51D7391494AF}"/>
              </a:ext>
            </a:extLst>
          </p:cNvPr>
          <p:cNvSpPr/>
          <p:nvPr userDrawn="1"/>
        </p:nvSpPr>
        <p:spPr>
          <a:xfrm>
            <a:off x="232799" y="6438884"/>
            <a:ext cx="2392001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جميع الحق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و</a:t>
            </a:r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ق محفوظة لـ وزارة الموارد البشرية والتنمية الاجتماعية 202</a:t>
            </a:r>
            <a:r>
              <a:rPr lang="en-US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1</a:t>
            </a:r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 ©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77B3375-8892-F740-8B38-145807AE636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04550" y="261938"/>
            <a:ext cx="69850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3735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BB56387-2A07-874E-99BC-6133BC32E5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62700"/>
            <a:ext cx="12192000" cy="4953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648BB3D-1DE9-924D-9F91-95B8C1598C1C}"/>
              </a:ext>
            </a:extLst>
          </p:cNvPr>
          <p:cNvSpPr/>
          <p:nvPr userDrawn="1"/>
        </p:nvSpPr>
        <p:spPr>
          <a:xfrm>
            <a:off x="0" y="0"/>
            <a:ext cx="49657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S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5CB068-1242-B949-9A45-44E272D53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5600" y="836613"/>
            <a:ext cx="4648200" cy="854075"/>
          </a:xfrm>
        </p:spPr>
        <p:txBody>
          <a:bodyPr/>
          <a:lstStyle>
            <a:lvl1pPr>
              <a:defRPr sz="2400" b="0" i="0">
                <a:latin typeface="29LT Bukra" panose="020B0504040000000004" pitchFamily="34" charset="-78"/>
                <a:cs typeface="29LT Bukra" panose="020B0504040000000004" pitchFamily="34" charset="-78"/>
              </a:defRPr>
            </a:lvl1pPr>
          </a:lstStyle>
          <a:p>
            <a:r>
              <a:rPr lang="ar-SA"/>
              <a:t>مثال لعنوان الصفحة</a:t>
            </a:r>
            <a:endParaRPr lang="en-S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6E76A8-2452-6942-BFD7-249AF11F4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705600" y="1825625"/>
            <a:ext cx="4648200" cy="4351338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en-SA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836A574-E170-3844-9A09-D7763939458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53440" y="1825625"/>
            <a:ext cx="3578711" cy="4351338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100">
                <a:solidFill>
                  <a:schemeClr val="accent1"/>
                </a:solidFill>
              </a:defRPr>
            </a:lvl4pPr>
            <a:lvl5pPr>
              <a:defRPr sz="1100">
                <a:solidFill>
                  <a:schemeClr val="accent1"/>
                </a:solidFill>
              </a:defRPr>
            </a:lvl5pPr>
          </a:lstStyle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en-SA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654EC99-96E8-5647-BF9C-6C3C7CDE4FBA}"/>
              </a:ext>
            </a:extLst>
          </p:cNvPr>
          <p:cNvSpPr/>
          <p:nvPr userDrawn="1"/>
        </p:nvSpPr>
        <p:spPr>
          <a:xfrm>
            <a:off x="232799" y="6438884"/>
            <a:ext cx="2392001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جميع الحق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و</a:t>
            </a:r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ق محفوظة لـ وزارة الموارد البشرية والتنمية الاجتماعية 202</a:t>
            </a:r>
            <a:r>
              <a:rPr lang="en-US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1</a:t>
            </a:r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 ©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6B7CD86-1D3B-3046-B140-6C8036DA948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04550" y="261938"/>
            <a:ext cx="69850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73174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CE944D75-588C-E648-944D-68D7E10027E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62700"/>
            <a:ext cx="12192000" cy="4953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676E6828-3398-0E41-A5A8-48A4169B20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59429" y="836613"/>
            <a:ext cx="9394371" cy="861558"/>
          </a:xfrm>
        </p:spPr>
        <p:txBody>
          <a:bodyPr/>
          <a:lstStyle>
            <a:lvl1pPr>
              <a:defRPr sz="2400" b="0" i="0">
                <a:latin typeface="29LT Bukra" panose="020B0504040000000004" pitchFamily="34" charset="-78"/>
                <a:cs typeface="29LT Bukra" panose="020B0504040000000004" pitchFamily="34" charset="-78"/>
              </a:defRPr>
            </a:lvl1pPr>
          </a:lstStyle>
          <a:p>
            <a:r>
              <a:rPr lang="ar-SA"/>
              <a:t>مثال لعنوان الصفحة</a:t>
            </a:r>
            <a:endParaRPr lang="en-SA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AB4F194-0DF6-A141-80C8-EE63F457204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959429" y="1825625"/>
            <a:ext cx="9394371" cy="4351338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en-SA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D8EF1C4-63A1-9148-A72E-E9BD0A5E7B79}"/>
              </a:ext>
            </a:extLst>
          </p:cNvPr>
          <p:cNvSpPr/>
          <p:nvPr userDrawn="1"/>
        </p:nvSpPr>
        <p:spPr>
          <a:xfrm>
            <a:off x="232799" y="6438884"/>
            <a:ext cx="2392001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جميع الحق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و</a:t>
            </a:r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ق محفوظة لـ وزارة الموارد البشرية والتنمية الاجتماعية 202</a:t>
            </a:r>
            <a:r>
              <a:rPr lang="en-US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1</a:t>
            </a:r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 ©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4FC5E06-37E8-FD4D-9533-F3AD333AB9B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04550" y="261938"/>
            <a:ext cx="69850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18644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A6043C5-E0B4-8C4F-8F7D-180879488E1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62700"/>
            <a:ext cx="12192000" cy="4953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45CB068-1242-B949-9A45-44E272D53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836613"/>
            <a:ext cx="10515600" cy="854075"/>
          </a:xfrm>
        </p:spPr>
        <p:txBody>
          <a:bodyPr/>
          <a:lstStyle>
            <a:lvl1pPr>
              <a:defRPr sz="2400" b="0" i="0">
                <a:latin typeface="29LT Bukra" panose="020B0504040000000004" pitchFamily="34" charset="-78"/>
                <a:cs typeface="29LT Bukra" panose="020B0504040000000004" pitchFamily="34" charset="-78"/>
              </a:defRPr>
            </a:lvl1pPr>
          </a:lstStyle>
          <a:p>
            <a:r>
              <a:rPr lang="ar-SA"/>
              <a:t>مثال لعنوان الصفحة</a:t>
            </a:r>
            <a:endParaRPr lang="en-S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6E76A8-2452-6942-BFD7-249AF11F4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en-SA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5ADC2DD-549D-E34E-941E-3F4F59F6D307}"/>
              </a:ext>
            </a:extLst>
          </p:cNvPr>
          <p:cNvSpPr/>
          <p:nvPr userDrawn="1"/>
        </p:nvSpPr>
        <p:spPr>
          <a:xfrm>
            <a:off x="232799" y="6438884"/>
            <a:ext cx="2392001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جميع الحق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و</a:t>
            </a:r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ق محفوظة لـ وزارة الموارد البشرية والتنمية الاجتماعية 202</a:t>
            </a:r>
            <a:r>
              <a:rPr lang="en-US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1</a:t>
            </a:r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 ©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B540DA4-8EA3-0D48-9EF1-06B4D5139F6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04550" y="261938"/>
            <a:ext cx="69850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42282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D2091DC-3C2C-9C48-B489-1B8067220F9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62700"/>
            <a:ext cx="12192000" cy="495300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6B7F86-E1CC-4A49-AF49-143E572B266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656080" y="1825625"/>
            <a:ext cx="4363720" cy="4351338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en-SA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DEFD2F4-7090-0D44-8B4B-69E3396B4EC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990080" y="1825625"/>
            <a:ext cx="4363720" cy="4351338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en-SA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15B3012-413B-9546-8202-0792052032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836613"/>
            <a:ext cx="10515600" cy="854075"/>
          </a:xfrm>
        </p:spPr>
        <p:txBody>
          <a:bodyPr/>
          <a:lstStyle>
            <a:lvl1pPr>
              <a:defRPr sz="2400" b="0" i="0">
                <a:latin typeface="29LT Bukra" panose="020B0504040000000004" pitchFamily="34" charset="-78"/>
                <a:cs typeface="29LT Bukra" panose="020B0504040000000004" pitchFamily="34" charset="-78"/>
              </a:defRPr>
            </a:lvl1pPr>
          </a:lstStyle>
          <a:p>
            <a:r>
              <a:rPr lang="ar-SA"/>
              <a:t>مثال لعنوان الصفحة</a:t>
            </a:r>
            <a:endParaRPr lang="en-SA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9324CB1-0BEE-C64F-B9DE-EE35A13F4B47}"/>
              </a:ext>
            </a:extLst>
          </p:cNvPr>
          <p:cNvSpPr/>
          <p:nvPr userDrawn="1"/>
        </p:nvSpPr>
        <p:spPr>
          <a:xfrm>
            <a:off x="232799" y="6438884"/>
            <a:ext cx="2392001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جميع الحق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و</a:t>
            </a:r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ق محفوظة لـ وزارة الموارد البشرية والتنمية الاجتماعية 202</a:t>
            </a:r>
            <a:r>
              <a:rPr lang="en-US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1</a:t>
            </a:r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 ©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2145327-1AF5-1147-A640-E32D1D7A84E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04550" y="261938"/>
            <a:ext cx="69850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542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BED2756-A887-479F-A4FE-56A139B78E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094850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8" imgW="592" imgH="591" progId="TCLayout.ActiveDocument.1">
                  <p:embed/>
                </p:oleObj>
              </mc:Choice>
              <mc:Fallback>
                <p:oleObj name="think-cell Slide" r:id="rId18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BED2756-A887-479F-A4FE-56A139B78E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731D514-8C37-4C47-A93D-7AAA8F4FCC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71369"/>
            <a:ext cx="10515600" cy="8193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ar-SA"/>
              <a:t>مثال لعنوان الصفحة</a:t>
            </a:r>
            <a:endParaRPr lang="en-S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F3D4FC-82D0-9748-B90B-6D67DAC208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en-S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ACA4DC-0B8D-0A47-A07F-DA4111EBC69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1374648" cy="36512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1">
              <a:defRPr sz="1000" b="0" i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endParaRPr lang="en-SA" sz="10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F2D970-CC06-EF43-83A2-A89227736A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288" y="6356350"/>
            <a:ext cx="3119560" cy="36512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>
              <a:defRPr lang="en-SA" sz="1000" b="0" i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sz="10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E5C5C91-C08F-AF4C-9A3E-FBF471E2FD3C}"/>
              </a:ext>
            </a:extLst>
          </p:cNvPr>
          <p:cNvSpPr txBox="1"/>
          <p:nvPr userDrawn="1"/>
        </p:nvSpPr>
        <p:spPr>
          <a:xfrm>
            <a:off x="11457432" y="6356350"/>
            <a:ext cx="438912" cy="36512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marL="0" algn="l" defTabSz="914400" rtl="0" eaLnBrk="1" latinLnBrk="0" hangingPunct="1"/>
            <a:fld id="{BB86AAFA-5706-154E-AA20-8AB1789A7C6F}" type="slidenum">
              <a:rPr lang="en-SA" sz="1000" b="0" i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t>‹#›</a:t>
            </a:fld>
            <a:endParaRPr lang="en-SA" sz="1000" b="0" i="0" kern="1200">
              <a:solidFill>
                <a:schemeClr val="tx1">
                  <a:tint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MSIPCMContentMarking" descr="{&quot;HashCode&quot;:-552501959,&quot;Placement&quot;:&quot;Footer&quot;,&quot;Top&quot;:519.343,&quot;Left&quot;:419.67395,&quot;SlideWidth&quot;:960,&quot;SlideHeight&quot;:540}"/>
          <p:cNvSpPr txBox="1"/>
          <p:nvPr userDrawn="1"/>
        </p:nvSpPr>
        <p:spPr>
          <a:xfrm>
            <a:off x="5329859" y="6595656"/>
            <a:ext cx="1532282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marL="0" algn="ctr" defTabSz="914400" rtl="1" eaLnBrk="1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sz="1000" smtClean="0">
                <a:solidFill>
                  <a:srgbClr val="0000FF"/>
                </a:solidFill>
                <a:latin typeface="Calibri" panose="020F0502020204030204" pitchFamily="34" charset="0"/>
              </a:rPr>
              <a:t>Classification: Strict </a:t>
            </a:r>
            <a:r>
              <a:rPr lang="ar-SA" sz="1000" smtClean="0">
                <a:solidFill>
                  <a:srgbClr val="0000FF"/>
                </a:solidFill>
                <a:latin typeface="Calibri" panose="020F0502020204030204" pitchFamily="34" charset="0"/>
              </a:rPr>
              <a:t>مقيدٍ </a:t>
            </a:r>
            <a:endParaRPr lang="en-US" sz="1000">
              <a:solidFill>
                <a:srgbClr val="0000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2469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1" r:id="rId2"/>
    <p:sldLayoutId id="2147483650" r:id="rId3"/>
    <p:sldLayoutId id="2147483682" r:id="rId4"/>
    <p:sldLayoutId id="2147483670" r:id="rId5"/>
    <p:sldLayoutId id="2147483698" r:id="rId6"/>
    <p:sldLayoutId id="2147483674" r:id="rId7"/>
    <p:sldLayoutId id="2147483673" r:id="rId8"/>
    <p:sldLayoutId id="2147483652" r:id="rId9"/>
    <p:sldLayoutId id="2147483672" r:id="rId10"/>
    <p:sldLayoutId id="2147483655" r:id="rId11"/>
    <p:sldLayoutId id="2147483702" r:id="rId12"/>
    <p:sldLayoutId id="2147483924" r:id="rId13"/>
    <p:sldLayoutId id="2147483925" r:id="rId14"/>
  </p:sldLayoutIdLst>
  <p:hf hdr="0" ftr="0" dt="0"/>
  <p:txStyles>
    <p:titleStyle>
      <a:lvl1pPr algn="r" defTabSz="914400" rtl="1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accent1"/>
          </a:solidFill>
          <a:latin typeface="Greta Arabic" pitchFamily="2" charset="-78"/>
          <a:ea typeface="+mj-ea"/>
          <a:cs typeface="+mj-cs"/>
        </a:defRPr>
      </a:lvl1pPr>
    </p:titleStyle>
    <p:bodyStyle>
      <a:lvl1pPr marL="228600" indent="-228600" algn="r" defTabSz="914400" rtl="1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Symbio AR+LT" panose="020B0503030303020204" pitchFamily="34" charset="-78"/>
          <a:ea typeface="+mn-ea"/>
          <a:cs typeface="Symbio AR+LT" panose="020B0503030303020204" pitchFamily="34" charset="-78"/>
        </a:defRPr>
      </a:lvl1pPr>
      <a:lvl2pPr marL="685800" indent="-228600" algn="r" defTabSz="914400" rtl="1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Greta Arabic Light" panose="02000000000000000000" pitchFamily="2" charset="-78"/>
          <a:ea typeface="+mn-ea"/>
          <a:cs typeface="+mn-cs"/>
        </a:defRPr>
      </a:lvl2pPr>
      <a:lvl3pPr marL="1143000" indent="-228600" algn="r" defTabSz="914400" rtl="1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Greta Arabic Light" panose="02000000000000000000" pitchFamily="2" charset="-78"/>
          <a:ea typeface="+mn-ea"/>
          <a:cs typeface="+mn-cs"/>
        </a:defRPr>
      </a:lvl3pPr>
      <a:lvl4pPr marL="1600200" indent="-228600" algn="r" defTabSz="914400" rtl="1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tx1"/>
          </a:solidFill>
          <a:latin typeface="Greta Arabic Light" panose="02000000000000000000" pitchFamily="2" charset="-78"/>
          <a:ea typeface="+mn-ea"/>
          <a:cs typeface="+mn-cs"/>
        </a:defRPr>
      </a:lvl4pPr>
      <a:lvl5pPr marL="2057400" indent="-228600" algn="r" defTabSz="914400" rtl="1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tx1"/>
          </a:solidFill>
          <a:latin typeface="Greta Arabic Light" panose="02000000000000000000" pitchFamily="2" charset="-78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S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81DBAB80-66C1-4DD2-9686-1A188D2B92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8959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81DBAB80-66C1-4DD2-9686-1A188D2B9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ubtitle 5"/>
          <p:cNvSpPr>
            <a:spLocks noGrp="1"/>
          </p:cNvSpPr>
          <p:nvPr>
            <p:ph type="subTitle" idx="1"/>
          </p:nvPr>
        </p:nvSpPr>
        <p:spPr>
          <a:xfrm>
            <a:off x="7836406" y="4940795"/>
            <a:ext cx="3759639" cy="283440"/>
          </a:xfrm>
        </p:spPr>
        <p:txBody>
          <a:bodyPr/>
          <a:lstStyle/>
          <a:p>
            <a:r>
              <a:rPr lang="ar-SA" sz="1800" dirty="0">
                <a:latin typeface="HRSD" panose="02000906030000020004" pitchFamily="2" charset="-78"/>
                <a:cs typeface="HRSD" panose="02000906030000020004" pitchFamily="2" charset="-78"/>
              </a:rPr>
              <a:t>مثال لعنوان فرعي</a:t>
            </a:r>
            <a:endParaRPr lang="en-US" sz="1800" dirty="0">
              <a:latin typeface="HRSD" panose="02000906030000020004" pitchFamily="2" charset="-78"/>
              <a:cs typeface="HRSD" panose="02000906030000020004" pitchFamily="2" charset="-78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10270165" y="6181345"/>
            <a:ext cx="1325880" cy="283440"/>
          </a:xfrm>
        </p:spPr>
        <p:txBody>
          <a:bodyPr/>
          <a:lstStyle/>
          <a:p>
            <a:r>
              <a:rPr lang="ar-SA" dirty="0">
                <a:latin typeface="HRSD" panose="02000906030000020004" pitchFamily="2" charset="-78"/>
                <a:cs typeface="HRSD" panose="02000906030000020004" pitchFamily="2" charset="-78"/>
              </a:rPr>
              <a:t>يناير 2023</a:t>
            </a:r>
            <a:endParaRPr lang="en-US" dirty="0">
              <a:latin typeface="HRSD" panose="02000906030000020004" pitchFamily="2" charset="-78"/>
              <a:cs typeface="HRSD" panose="02000906030000020004" pitchFamily="2" charset="-7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ar-SA" sz="3600" b="1" dirty="0">
                <a:latin typeface="HRSD" panose="02000906030000020004" pitchFamily="2" charset="-78"/>
                <a:cs typeface="HRSD" panose="02000906030000020004" pitchFamily="2" charset="-78"/>
              </a:rPr>
              <a:t>تقرير تقدم التخطيط الاستراتيجي للقوى العاملة</a:t>
            </a:r>
            <a:endParaRPr lang="en-US" sz="3600" b="1" dirty="0">
              <a:latin typeface="HRSD" panose="02000906030000020004" pitchFamily="2" charset="-78"/>
              <a:cs typeface="HRSD" panose="02000906030000020004" pitchFamily="2" charset="-78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353E3CE-F8C8-FB7A-3380-4A6DE8405BA7}"/>
              </a:ext>
            </a:extLst>
          </p:cNvPr>
          <p:cNvSpPr/>
          <p:nvPr/>
        </p:nvSpPr>
        <p:spPr>
          <a:xfrm>
            <a:off x="6096000" y="5348853"/>
            <a:ext cx="5620214" cy="3345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algn="r" defTabSz="914400" rtl="1" eaLnBrk="1" latinLnBrk="0" hangingPunct="1"/>
            <a:r>
              <a:rPr lang="ar-SA" sz="1600" dirty="0">
                <a:solidFill>
                  <a:srgbClr val="FF0000"/>
                </a:solidFill>
                <a:latin typeface="HRSD" panose="02000906030000020004" pitchFamily="2" charset="-78"/>
                <a:cs typeface="HRSD" panose="02000906030000020004" pitchFamily="2" charset="-78"/>
              </a:rPr>
              <a:t>*النموذج قابل للتحديث بشكل مستمر </a:t>
            </a:r>
            <a:endParaRPr lang="en-US" sz="1600" dirty="0">
              <a:solidFill>
                <a:srgbClr val="FF0000"/>
              </a:solidFill>
              <a:latin typeface="HRSD" panose="02000906030000020004" pitchFamily="2" charset="-78"/>
              <a:cs typeface="HRSD" panose="02000906030000020004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8240993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FBFDC26-58D7-41D6-BCF1-38D68AA8B11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FBFDC26-58D7-41D6-BCF1-38D68AA8B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C5274CA-FC1D-467D-BF65-C0E5F8CD13F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36" name="Table 35">
            <a:extLst>
              <a:ext uri="{FF2B5EF4-FFF2-40B4-BE49-F238E27FC236}">
                <a16:creationId xmlns:a16="http://schemas.microsoft.com/office/drawing/2014/main" id="{C5E671AA-57F0-4187-8D0F-2404F2B7FB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7445152"/>
              </p:ext>
            </p:extLst>
          </p:nvPr>
        </p:nvGraphicFramePr>
        <p:xfrm>
          <a:off x="505074" y="950414"/>
          <a:ext cx="11152404" cy="287379"/>
        </p:xfrm>
        <a:graphic>
          <a:graphicData uri="http://schemas.openxmlformats.org/drawingml/2006/table">
            <a:tbl>
              <a:tblPr rtl="1"/>
              <a:tblGrid>
                <a:gridCol w="9293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293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293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2936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2936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29367">
                  <a:extLst>
                    <a:ext uri="{9D8B030D-6E8A-4147-A177-3AD203B41FA5}">
                      <a16:colId xmlns:a16="http://schemas.microsoft.com/office/drawing/2014/main" val="2654720030"/>
                    </a:ext>
                  </a:extLst>
                </a:gridCol>
                <a:gridCol w="929367">
                  <a:extLst>
                    <a:ext uri="{9D8B030D-6E8A-4147-A177-3AD203B41FA5}">
                      <a16:colId xmlns:a16="http://schemas.microsoft.com/office/drawing/2014/main" val="1769542743"/>
                    </a:ext>
                  </a:extLst>
                </a:gridCol>
                <a:gridCol w="929367">
                  <a:extLst>
                    <a:ext uri="{9D8B030D-6E8A-4147-A177-3AD203B41FA5}">
                      <a16:colId xmlns:a16="http://schemas.microsoft.com/office/drawing/2014/main" val="3261700050"/>
                    </a:ext>
                  </a:extLst>
                </a:gridCol>
                <a:gridCol w="929367">
                  <a:extLst>
                    <a:ext uri="{9D8B030D-6E8A-4147-A177-3AD203B41FA5}">
                      <a16:colId xmlns:a16="http://schemas.microsoft.com/office/drawing/2014/main" val="112187479"/>
                    </a:ext>
                  </a:extLst>
                </a:gridCol>
                <a:gridCol w="929367">
                  <a:extLst>
                    <a:ext uri="{9D8B030D-6E8A-4147-A177-3AD203B41FA5}">
                      <a16:colId xmlns:a16="http://schemas.microsoft.com/office/drawing/2014/main" val="3598279573"/>
                    </a:ext>
                  </a:extLst>
                </a:gridCol>
                <a:gridCol w="929367">
                  <a:extLst>
                    <a:ext uri="{9D8B030D-6E8A-4147-A177-3AD203B41FA5}">
                      <a16:colId xmlns:a16="http://schemas.microsoft.com/office/drawing/2014/main" val="565603132"/>
                    </a:ext>
                  </a:extLst>
                </a:gridCol>
                <a:gridCol w="929367">
                  <a:extLst>
                    <a:ext uri="{9D8B030D-6E8A-4147-A177-3AD203B41FA5}">
                      <a16:colId xmlns:a16="http://schemas.microsoft.com/office/drawing/2014/main" val="352684359"/>
                    </a:ext>
                  </a:extLst>
                </a:gridCol>
              </a:tblGrid>
              <a:tr h="287379">
                <a:tc>
                  <a:txBody>
                    <a:bodyPr/>
                    <a:lstStyle/>
                    <a:p>
                      <a:pPr algn="ctr" rtl="1" fontAlgn="ctr"/>
                      <a:r>
                        <a:rPr lang="ar-AE" sz="1050" b="1" i="0" u="none" strike="noStrike">
                          <a:solidFill>
                            <a:schemeClr val="bg1"/>
                          </a:solidFill>
                          <a:effectLst/>
                          <a:latin typeface="HRSD" panose="02000906030000020004" pitchFamily="2" charset="-78"/>
                          <a:cs typeface="HRSD" panose="02000906030000020004" pitchFamily="2" charset="-78"/>
                        </a:rPr>
                        <a:t>الأسبوع 1</a:t>
                      </a:r>
                      <a:endParaRPr lang="en-US" sz="1050" b="1" i="0" u="none" strike="noStrike">
                        <a:solidFill>
                          <a:schemeClr val="bg1"/>
                        </a:solidFill>
                        <a:effectLst/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marL="5773" marR="5773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kumimoji="0" lang="ar-AE" sz="10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الأسبوع </a:t>
                      </a:r>
                      <a:r>
                        <a:rPr kumimoji="0" lang="en-US" sz="10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2</a:t>
                      </a:r>
                      <a:endParaRPr lang="en-US" sz="1050" b="1" i="0" u="none" strike="noStrike">
                        <a:solidFill>
                          <a:schemeClr val="bg1"/>
                        </a:solidFill>
                        <a:effectLst/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marL="5773" marR="5773" marT="635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kumimoji="0" lang="ar-AE" sz="10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الأسبوع</a:t>
                      </a:r>
                      <a:r>
                        <a:rPr kumimoji="0" lang="en-US" sz="10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3 </a:t>
                      </a:r>
                      <a:endParaRPr lang="en-US" sz="1050" b="1" i="0" u="none" strike="noStrike">
                        <a:solidFill>
                          <a:schemeClr val="bg1"/>
                        </a:solidFill>
                        <a:effectLst/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marL="5773" marR="5773" marT="635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AE" sz="10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الأسبوع</a:t>
                      </a:r>
                      <a:r>
                        <a:rPr kumimoji="0" lang="en-US" sz="10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4 </a:t>
                      </a:r>
                    </a:p>
                  </a:txBody>
                  <a:tcPr marL="5773" marR="5773" marT="635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AE" sz="10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الأسبوع</a:t>
                      </a:r>
                      <a:r>
                        <a:rPr kumimoji="0" lang="en-US" sz="10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5 </a:t>
                      </a:r>
                    </a:p>
                  </a:txBody>
                  <a:tcPr marL="5773" marR="5773" marT="635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AE" sz="10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الأسبوع</a:t>
                      </a:r>
                      <a:r>
                        <a:rPr kumimoji="0" lang="en-US" sz="10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6 </a:t>
                      </a:r>
                    </a:p>
                  </a:txBody>
                  <a:tcPr marL="5773" marR="5773" marT="635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AE" sz="10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الأسبوع</a:t>
                      </a:r>
                      <a:r>
                        <a:rPr kumimoji="0" lang="en-US" sz="10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7 </a:t>
                      </a:r>
                    </a:p>
                  </a:txBody>
                  <a:tcPr marL="5773" marR="5773" marT="635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AE" sz="10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الأسبوع</a:t>
                      </a:r>
                      <a:r>
                        <a:rPr kumimoji="0" lang="en-US" sz="10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8 </a:t>
                      </a:r>
                    </a:p>
                  </a:txBody>
                  <a:tcPr marL="5773" marR="5773" marT="635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AE" sz="10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الأسبوع</a:t>
                      </a:r>
                      <a:r>
                        <a:rPr kumimoji="0" lang="en-US" sz="10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9 </a:t>
                      </a:r>
                    </a:p>
                  </a:txBody>
                  <a:tcPr marL="5773" marR="5773" marT="635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AE" sz="10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الأسبوع</a:t>
                      </a:r>
                      <a:r>
                        <a:rPr kumimoji="0" lang="en-US" sz="10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10 </a:t>
                      </a:r>
                    </a:p>
                  </a:txBody>
                  <a:tcPr marL="5773" marR="5773" marT="635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AE" sz="10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الأسبوع</a:t>
                      </a:r>
                      <a:r>
                        <a:rPr kumimoji="0" lang="en-US" sz="10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11 </a:t>
                      </a:r>
                    </a:p>
                  </a:txBody>
                  <a:tcPr marL="5773" marR="5773" marT="635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AE" sz="10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الأسبوع</a:t>
                      </a:r>
                      <a:r>
                        <a:rPr kumimoji="0" lang="en-US" sz="10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12 </a:t>
                      </a:r>
                    </a:p>
                  </a:txBody>
                  <a:tcPr marL="5773" marR="5773" marT="635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5" name="Rectangle 34">
            <a:extLst>
              <a:ext uri="{FF2B5EF4-FFF2-40B4-BE49-F238E27FC236}">
                <a16:creationId xmlns:a16="http://schemas.microsoft.com/office/drawing/2014/main" id="{1497A446-3E6A-4BFD-894B-5BFDE1C2E7DD}"/>
              </a:ext>
            </a:extLst>
          </p:cNvPr>
          <p:cNvSpPr/>
          <p:nvPr/>
        </p:nvSpPr>
        <p:spPr>
          <a:xfrm flipH="1">
            <a:off x="8989563" y="5440130"/>
            <a:ext cx="2617082" cy="9343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54306" marR="0" lvl="0" indent="-154306" algn="r" defTabSz="822912" rtl="1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rPr>
              <a:t>XXX</a:t>
            </a:r>
          </a:p>
          <a:p>
            <a:pPr marL="154306" marR="0" lvl="0" indent="-154306" algn="r" defTabSz="822912" rtl="1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prstClr val="black"/>
                </a:solidFill>
                <a:latin typeface="HRSD" panose="02000906030000020004" pitchFamily="2" charset="-78"/>
                <a:cs typeface="HRSD" panose="02000906030000020004" pitchFamily="2" charset="-78"/>
              </a:rPr>
              <a:t>XXX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RSD" panose="02000906030000020004" pitchFamily="2" charset="-78"/>
              <a:ea typeface="+mn-ea"/>
              <a:cs typeface="HRSD" panose="02000906030000020004" pitchFamily="2" charset="-78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B9AFF76-1B62-438A-B436-F9DE3B531AE0}"/>
              </a:ext>
            </a:extLst>
          </p:cNvPr>
          <p:cNvSpPr/>
          <p:nvPr/>
        </p:nvSpPr>
        <p:spPr>
          <a:xfrm flipH="1">
            <a:off x="3804243" y="5044243"/>
            <a:ext cx="2406494" cy="2909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22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rPr>
              <a:t>مؤشر مخاطر المشروع العام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RSD" panose="02000906030000020004" pitchFamily="2" charset="-78"/>
              <a:ea typeface="+mn-ea"/>
              <a:cs typeface="HRSD" panose="02000906030000020004" pitchFamily="2" charset="-78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3BB2BAEC-30BF-47A8-9131-2FDA48A075EB}"/>
              </a:ext>
            </a:extLst>
          </p:cNvPr>
          <p:cNvSpPr/>
          <p:nvPr/>
        </p:nvSpPr>
        <p:spPr>
          <a:xfrm flipH="1">
            <a:off x="8991135" y="5108187"/>
            <a:ext cx="2617082" cy="35198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22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RSD Title" panose="02000906030000020004" pitchFamily="2" charset="-78"/>
                <a:ea typeface="+mn-ea"/>
                <a:cs typeface="HRSD Title" panose="02000906030000020004" pitchFamily="2" charset="-78"/>
              </a:rPr>
              <a:t>أبزر المخاطر 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RSD Title" panose="02000906030000020004" pitchFamily="2" charset="-78"/>
              <a:ea typeface="+mn-ea"/>
              <a:cs typeface="HRSD Title" panose="02000906030000020004" pitchFamily="2" charset="-78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44D8AB4-2A41-449D-ACFD-714D8ED0AE24}"/>
              </a:ext>
            </a:extLst>
          </p:cNvPr>
          <p:cNvSpPr/>
          <p:nvPr/>
        </p:nvSpPr>
        <p:spPr>
          <a:xfrm flipH="1">
            <a:off x="6283089" y="5108187"/>
            <a:ext cx="2617082" cy="35198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22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RSD Title" panose="02000906030000020004" pitchFamily="2" charset="-78"/>
                <a:ea typeface="+mn-ea"/>
                <a:cs typeface="HRSD Title" panose="02000906030000020004" pitchFamily="2" charset="-78"/>
              </a:rPr>
              <a:t>خطة الاستجابة 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RSD Title" panose="02000906030000020004" pitchFamily="2" charset="-78"/>
              <a:ea typeface="+mn-ea"/>
              <a:cs typeface="HRSD Title" panose="02000906030000020004" pitchFamily="2" charset="-78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81180279-BD1D-438E-B264-0A9105699B68}"/>
              </a:ext>
            </a:extLst>
          </p:cNvPr>
          <p:cNvSpPr/>
          <p:nvPr/>
        </p:nvSpPr>
        <p:spPr>
          <a:xfrm flipH="1">
            <a:off x="6283089" y="5440131"/>
            <a:ext cx="2617082" cy="9343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r" defTabSz="822912" rtl="1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rPr>
              <a:t>XXX</a:t>
            </a:r>
          </a:p>
          <a:p>
            <a:pPr marL="171450" marR="0" lvl="0" indent="-171450" algn="r" defTabSz="822912" rtl="1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prstClr val="black"/>
                </a:solidFill>
                <a:latin typeface="HRSD" panose="02000906030000020004" pitchFamily="2" charset="-78"/>
                <a:cs typeface="HRSD" panose="02000906030000020004" pitchFamily="2" charset="-78"/>
              </a:rPr>
              <a:t>XXX</a:t>
            </a:r>
            <a:endParaRPr kumimoji="0" lang="ar-SA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RSD" panose="02000906030000020004" pitchFamily="2" charset="-78"/>
              <a:ea typeface="+mn-ea"/>
              <a:cs typeface="HRSD" panose="02000906030000020004" pitchFamily="2" charset="-78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4CF69A7-35F9-4BAB-B758-2DD48C7080AE}"/>
              </a:ext>
            </a:extLst>
          </p:cNvPr>
          <p:cNvGrpSpPr/>
          <p:nvPr/>
        </p:nvGrpSpPr>
        <p:grpSpPr>
          <a:xfrm flipH="1">
            <a:off x="537488" y="5121720"/>
            <a:ext cx="3070700" cy="1096539"/>
            <a:chOff x="8551576" y="5236060"/>
            <a:chExt cx="3070700" cy="1096539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696BE53F-ECC9-4AAD-BCA6-B5D7800CE2E4}"/>
                </a:ext>
              </a:extLst>
            </p:cNvPr>
            <p:cNvSpPr/>
            <p:nvPr/>
          </p:nvSpPr>
          <p:spPr>
            <a:xfrm>
              <a:off x="8551576" y="5236060"/>
              <a:ext cx="3070700" cy="109653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32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932" tIns="36467" rIns="72932" bIns="36467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endParaRPr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700F840D-1972-4681-B4E9-C52AED9E1876}"/>
                </a:ext>
              </a:extLst>
            </p:cNvPr>
            <p:cNvSpPr>
              <a:spLocks/>
            </p:cNvSpPr>
            <p:nvPr/>
          </p:nvSpPr>
          <p:spPr>
            <a:xfrm>
              <a:off x="8664501" y="5324493"/>
              <a:ext cx="127015" cy="13499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933" tIns="36467" rIns="72933" bIns="36467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endParaRPr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89E317E8-5F83-48FB-B439-3AB30538D3B0}"/>
                </a:ext>
              </a:extLst>
            </p:cNvPr>
            <p:cNvSpPr>
              <a:spLocks/>
            </p:cNvSpPr>
            <p:nvPr/>
          </p:nvSpPr>
          <p:spPr>
            <a:xfrm>
              <a:off x="8664501" y="5521402"/>
              <a:ext cx="127015" cy="13499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933" tIns="36467" rIns="72933" bIns="36467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482D12F5-C8E1-4221-812E-D945E511C8F5}"/>
                </a:ext>
              </a:extLst>
            </p:cNvPr>
            <p:cNvSpPr>
              <a:spLocks/>
            </p:cNvSpPr>
            <p:nvPr/>
          </p:nvSpPr>
          <p:spPr>
            <a:xfrm>
              <a:off x="8664501" y="5718310"/>
              <a:ext cx="127015" cy="134990"/>
            </a:xfrm>
            <a:prstGeom prst="ellipse">
              <a:avLst/>
            </a:prstGeom>
            <a:solidFill>
              <a:srgbClr val="FA39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933" tIns="36467" rIns="72933" bIns="36467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9196870F-4FFA-42D8-A23D-A69B34CF861D}"/>
                </a:ext>
              </a:extLst>
            </p:cNvPr>
            <p:cNvSpPr>
              <a:spLocks/>
            </p:cNvSpPr>
            <p:nvPr/>
          </p:nvSpPr>
          <p:spPr>
            <a:xfrm>
              <a:off x="8816673" y="5349770"/>
              <a:ext cx="1814544" cy="8600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932" tIns="36467" rIns="72932" bIns="36467" rtlCol="0" anchor="ctr"/>
            <a:lstStyle/>
            <a:p>
              <a:pPr marL="0" marR="0" lvl="0" indent="0" algn="r" defTabSz="822912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SA" sz="105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على المسار – خطر منخفض</a:t>
              </a:r>
              <a:endParaRPr kumimoji="0" lang="en-US" sz="105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B73973A7-133A-4561-B92F-55FDBE07EB65}"/>
                </a:ext>
              </a:extLst>
            </p:cNvPr>
            <p:cNvSpPr>
              <a:spLocks/>
            </p:cNvSpPr>
            <p:nvPr/>
          </p:nvSpPr>
          <p:spPr>
            <a:xfrm>
              <a:off x="8816673" y="5546482"/>
              <a:ext cx="1814544" cy="8600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932" tIns="36467" rIns="72932" bIns="36467" rtlCol="0" anchor="ctr"/>
            <a:lstStyle/>
            <a:p>
              <a:pPr marL="0" marR="0" lvl="0" indent="0" algn="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SA" sz="105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تأخر جزئي – خطر متوسط</a:t>
              </a:r>
              <a:endParaRPr kumimoji="0" lang="en-US" sz="105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7F621AC4-B7A5-421C-982D-E171E989F38F}"/>
                </a:ext>
              </a:extLst>
            </p:cNvPr>
            <p:cNvSpPr>
              <a:spLocks/>
            </p:cNvSpPr>
            <p:nvPr/>
          </p:nvSpPr>
          <p:spPr>
            <a:xfrm>
              <a:off x="8816673" y="5743195"/>
              <a:ext cx="1814544" cy="8600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932" tIns="36467" rIns="72932" bIns="36467" rtlCol="0" anchor="ctr"/>
            <a:lstStyle/>
            <a:p>
              <a:pPr marL="0" marR="0" lvl="0" indent="0" algn="r" defTabSz="822912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SA" sz="105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تأخر عالي – خطر عالي </a:t>
              </a:r>
              <a:endParaRPr kumimoji="0" lang="en-US" sz="105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225A341D-2A81-420D-9454-F8C2230CB87F}"/>
                </a:ext>
              </a:extLst>
            </p:cNvPr>
            <p:cNvSpPr>
              <a:spLocks/>
            </p:cNvSpPr>
            <p:nvPr/>
          </p:nvSpPr>
          <p:spPr>
            <a:xfrm>
              <a:off x="8816673" y="6136620"/>
              <a:ext cx="2460734" cy="8600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932" tIns="36467" rIns="72932" bIns="36467" rtlCol="0" anchor="ctr"/>
            <a:lstStyle/>
            <a:p>
              <a:pPr marL="0" marR="0" lvl="0" indent="0" algn="l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endParaRPr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BCE5FE85-B8F8-4BAE-8381-C8876D0FD5DA}"/>
              </a:ext>
            </a:extLst>
          </p:cNvPr>
          <p:cNvGrpSpPr>
            <a:grpSpLocks noChangeAspect="1"/>
          </p:cNvGrpSpPr>
          <p:nvPr/>
        </p:nvGrpSpPr>
        <p:grpSpPr>
          <a:xfrm flipH="1">
            <a:off x="3852315" y="5343810"/>
            <a:ext cx="2007405" cy="1737361"/>
            <a:chOff x="4522141" y="3859502"/>
            <a:chExt cx="2671882" cy="2025665"/>
          </a:xfrm>
        </p:grpSpPr>
        <p:sp>
          <p:nvSpPr>
            <p:cNvPr id="86" name="Block Arc 85">
              <a:extLst>
                <a:ext uri="{FF2B5EF4-FFF2-40B4-BE49-F238E27FC236}">
                  <a16:creationId xmlns:a16="http://schemas.microsoft.com/office/drawing/2014/main" id="{5D0E9D5D-990B-4FBF-B36E-6A7819D7C62C}"/>
                </a:ext>
              </a:extLst>
            </p:cNvPr>
            <p:cNvSpPr/>
            <p:nvPr/>
          </p:nvSpPr>
          <p:spPr>
            <a:xfrm>
              <a:off x="4932093" y="4011536"/>
              <a:ext cx="1873625" cy="1873630"/>
            </a:xfrm>
            <a:prstGeom prst="blockArc">
              <a:avLst>
                <a:gd name="adj1" fmla="val 10800000"/>
                <a:gd name="adj2" fmla="val 13487009"/>
                <a:gd name="adj3" fmla="val 11521"/>
              </a:avLst>
            </a:prstGeom>
            <a:solidFill>
              <a:srgbClr val="43B02A">
                <a:lumMod val="20000"/>
                <a:lumOff val="8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49150" tIns="49150" rIns="49150" bIns="49150" rtlCol="0" anchor="ctr"/>
            <a:lstStyle/>
            <a:p>
              <a:pPr marL="0" marR="0" lvl="0" indent="0" algn="l" defTabSz="8229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endParaRP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D40BB584-E341-42B7-BA8F-F8546DE09D6F}"/>
                </a:ext>
              </a:extLst>
            </p:cNvPr>
            <p:cNvSpPr/>
            <p:nvPr/>
          </p:nvSpPr>
          <p:spPr>
            <a:xfrm>
              <a:off x="6736823" y="4847163"/>
              <a:ext cx="457200" cy="146139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49150" tIns="49150" rIns="49150" bIns="49150" rtlCol="0" anchor="ctr"/>
            <a:lstStyle/>
            <a:p>
              <a:pPr marL="0" marR="0" lvl="0" indent="0" algn="ctr" defTabSz="8229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HIGH</a:t>
              </a:r>
            </a:p>
          </p:txBody>
        </p:sp>
        <p:sp>
          <p:nvSpPr>
            <p:cNvPr id="88" name="Block Arc 87">
              <a:extLst>
                <a:ext uri="{FF2B5EF4-FFF2-40B4-BE49-F238E27FC236}">
                  <a16:creationId xmlns:a16="http://schemas.microsoft.com/office/drawing/2014/main" id="{F6BEC7C8-EC05-4C12-B8BD-F240776F1C88}"/>
                </a:ext>
              </a:extLst>
            </p:cNvPr>
            <p:cNvSpPr/>
            <p:nvPr/>
          </p:nvSpPr>
          <p:spPr>
            <a:xfrm>
              <a:off x="4932093" y="4011536"/>
              <a:ext cx="1873625" cy="1873630"/>
            </a:xfrm>
            <a:prstGeom prst="blockArc">
              <a:avLst>
                <a:gd name="adj1" fmla="val 13450388"/>
                <a:gd name="adj2" fmla="val 18692502"/>
                <a:gd name="adj3" fmla="val 11612"/>
              </a:avLst>
            </a:prstGeom>
            <a:solidFill>
              <a:srgbClr val="EAAA00">
                <a:lumMod val="20000"/>
                <a:lumOff val="8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49150" tIns="49150" rIns="49150" bIns="49150" rtlCol="0" anchor="ctr"/>
            <a:lstStyle/>
            <a:p>
              <a:pPr marL="0" marR="0" lvl="0" indent="0" algn="l" defTabSz="8229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endParaRPr>
            </a:p>
          </p:txBody>
        </p:sp>
        <p:sp>
          <p:nvSpPr>
            <p:cNvPr id="89" name="Block Arc 88">
              <a:extLst>
                <a:ext uri="{FF2B5EF4-FFF2-40B4-BE49-F238E27FC236}">
                  <a16:creationId xmlns:a16="http://schemas.microsoft.com/office/drawing/2014/main" id="{67C2B5C7-E4A6-4698-8501-20A6C8A543BD}"/>
                </a:ext>
              </a:extLst>
            </p:cNvPr>
            <p:cNvSpPr/>
            <p:nvPr/>
          </p:nvSpPr>
          <p:spPr>
            <a:xfrm>
              <a:off x="4932094" y="4011537"/>
              <a:ext cx="1873625" cy="1873630"/>
            </a:xfrm>
            <a:prstGeom prst="blockArc">
              <a:avLst>
                <a:gd name="adj1" fmla="val 18678467"/>
                <a:gd name="adj2" fmla="val 49334"/>
                <a:gd name="adj3" fmla="val 11693"/>
              </a:avLst>
            </a:prstGeom>
            <a:solidFill>
              <a:srgbClr val="FF979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49150" tIns="49150" rIns="49150" bIns="49150" rtlCol="0" anchor="ctr"/>
            <a:lstStyle/>
            <a:p>
              <a:pPr marL="0" marR="0" lvl="0" indent="0" algn="l" defTabSz="8229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endParaRP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FA9B346D-90CA-41F2-913D-5EB5F329ED03}"/>
                </a:ext>
              </a:extLst>
            </p:cNvPr>
            <p:cNvSpPr/>
            <p:nvPr/>
          </p:nvSpPr>
          <p:spPr>
            <a:xfrm>
              <a:off x="5592227" y="3859502"/>
              <a:ext cx="524066" cy="141941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49150" tIns="49150" rIns="49150" bIns="49150" rtlCol="0" anchor="ctr"/>
            <a:lstStyle/>
            <a:p>
              <a:pPr marL="0" marR="0" lvl="0" indent="0" algn="ctr" defTabSz="8229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MEDIUM</a:t>
              </a: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B09CAE55-5024-4344-99AA-6CE4BB4EDAC2}"/>
                </a:ext>
              </a:extLst>
            </p:cNvPr>
            <p:cNvSpPr/>
            <p:nvPr/>
          </p:nvSpPr>
          <p:spPr>
            <a:xfrm>
              <a:off x="4522141" y="4847450"/>
              <a:ext cx="457200" cy="146139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49150" tIns="49150" rIns="49150" bIns="49150" rtlCol="0" anchor="ctr"/>
            <a:lstStyle/>
            <a:p>
              <a:pPr marL="0" marR="0" lvl="0" indent="0" algn="ctr" defTabSz="8229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LOW</a:t>
              </a:r>
            </a:p>
          </p:txBody>
        </p:sp>
      </p:grpSp>
      <p:sp>
        <p:nvSpPr>
          <p:cNvPr id="92" name="Isosceles Triangle 91">
            <a:extLst>
              <a:ext uri="{FF2B5EF4-FFF2-40B4-BE49-F238E27FC236}">
                <a16:creationId xmlns:a16="http://schemas.microsoft.com/office/drawing/2014/main" id="{38AB2D7A-8C64-4BB8-AAC3-C339F7F9BD12}"/>
              </a:ext>
            </a:extLst>
          </p:cNvPr>
          <p:cNvSpPr/>
          <p:nvPr/>
        </p:nvSpPr>
        <p:spPr>
          <a:xfrm rot="17937231" flipH="1">
            <a:off x="4482071" y="5671046"/>
            <a:ext cx="139921" cy="792330"/>
          </a:xfrm>
          <a:prstGeom prst="triangle">
            <a:avLst/>
          </a:prstGeom>
          <a:solidFill>
            <a:srgbClr val="000000">
              <a:lumMod val="50000"/>
              <a:lumOff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49150" tIns="49150" rIns="49150" bIns="49150" rtlCol="0" anchor="ctr"/>
          <a:lstStyle/>
          <a:p>
            <a:pPr marL="0" marR="0" lvl="0" indent="0" algn="l" defTabSz="8229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RSD" panose="02000906030000020004" pitchFamily="2" charset="-78"/>
              <a:ea typeface="+mn-ea"/>
              <a:cs typeface="HRSD" panose="02000906030000020004" pitchFamily="2" charset="-78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17E5B0A1-7995-4BDA-BB96-6A8A081AE2D2}"/>
              </a:ext>
            </a:extLst>
          </p:cNvPr>
          <p:cNvSpPr/>
          <p:nvPr/>
        </p:nvSpPr>
        <p:spPr>
          <a:xfrm flipH="1">
            <a:off x="503683" y="4954108"/>
            <a:ext cx="11152398" cy="1480187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22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RSD" panose="02000906030000020004" pitchFamily="2" charset="-78"/>
              <a:ea typeface="+mn-ea"/>
              <a:cs typeface="HRSD" panose="02000906030000020004" pitchFamily="2" charset="-78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CC8645D-33E6-489C-8B48-80DE66D98717}"/>
              </a:ext>
            </a:extLst>
          </p:cNvPr>
          <p:cNvSpPr/>
          <p:nvPr/>
        </p:nvSpPr>
        <p:spPr>
          <a:xfrm flipH="1">
            <a:off x="3771185" y="1307055"/>
            <a:ext cx="2406494" cy="2909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22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RSD Title" panose="02000906030000020004" pitchFamily="2" charset="-78"/>
                <a:ea typeface="+mn-ea"/>
                <a:cs typeface="HRSD Title" panose="02000906030000020004" pitchFamily="2" charset="-78"/>
              </a:rPr>
              <a:t>نسبة الإنجاز في المشروع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RSD Title" panose="02000906030000020004" pitchFamily="2" charset="-78"/>
              <a:ea typeface="+mn-ea"/>
              <a:cs typeface="HRSD Title" panose="02000906030000020004" pitchFamily="2" charset="-78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6D0DF503-320B-4A15-B9AA-2C88B854E452}"/>
              </a:ext>
            </a:extLst>
          </p:cNvPr>
          <p:cNvSpPr/>
          <p:nvPr/>
        </p:nvSpPr>
        <p:spPr>
          <a:xfrm flipH="1">
            <a:off x="8970482" y="1312278"/>
            <a:ext cx="2617082" cy="4308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2291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RSD Title" panose="02000906030000020004" pitchFamily="2" charset="-78"/>
                <a:ea typeface="+mn-ea"/>
                <a:cs typeface="HRSD Title" panose="02000906030000020004" pitchFamily="2" charset="-78"/>
              </a:rPr>
              <a:t>أبرز الأنشطة المكتملة 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RSD Title" panose="02000906030000020004" pitchFamily="2" charset="-78"/>
              <a:ea typeface="+mn-ea"/>
              <a:cs typeface="HRSD Title" panose="02000906030000020004" pitchFamily="2" charset="-78"/>
            </a:endParaRPr>
          </a:p>
          <a:p>
            <a:pPr marL="0" marR="0" lvl="0" indent="0" algn="ctr" defTabSz="82291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RSD Title" panose="02000906030000020004" pitchFamily="2" charset="-78"/>
                <a:ea typeface="+mn-ea"/>
                <a:cs typeface="HRSD Title" panose="02000906030000020004" pitchFamily="2" charset="-78"/>
              </a:rPr>
              <a:t>(تاريخ البدء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RSD Title" panose="02000906030000020004" pitchFamily="2" charset="-78"/>
                <a:ea typeface="+mn-ea"/>
                <a:cs typeface="HRSD Title" panose="02000906030000020004" pitchFamily="2" charset="-78"/>
              </a:rPr>
              <a:t> </a:t>
            </a:r>
            <a:r>
              <a:rPr kumimoji="0" lang="ar-SA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RSD Title" panose="02000906030000020004" pitchFamily="2" charset="-78"/>
                <a:ea typeface="+mn-ea"/>
                <a:cs typeface="HRSD Title" panose="02000906030000020004" pitchFamily="2" charset="-78"/>
              </a:rPr>
              <a:t>– تاريخ الانتهاء)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RSD Title" panose="02000906030000020004" pitchFamily="2" charset="-78"/>
              <a:ea typeface="+mn-ea"/>
              <a:cs typeface="HRSD Title" panose="02000906030000020004" pitchFamily="2" charset="-78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2FBDA2CC-8C35-43FD-9F40-C6F76A7193D2}"/>
              </a:ext>
            </a:extLst>
          </p:cNvPr>
          <p:cNvSpPr/>
          <p:nvPr/>
        </p:nvSpPr>
        <p:spPr>
          <a:xfrm flipH="1">
            <a:off x="6280221" y="1312278"/>
            <a:ext cx="2617082" cy="4308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2291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RSD Title" panose="02000906030000020004" pitchFamily="2" charset="-78"/>
                <a:ea typeface="+mn-ea"/>
                <a:cs typeface="HRSD Title" panose="02000906030000020004" pitchFamily="2" charset="-78"/>
              </a:rPr>
              <a:t>الأنشطة المخطط استكمالها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RSD Title" panose="02000906030000020004" pitchFamily="2" charset="-78"/>
              <a:ea typeface="+mn-ea"/>
              <a:cs typeface="HRSD Title" panose="02000906030000020004" pitchFamily="2" charset="-78"/>
            </a:endParaRPr>
          </a:p>
          <a:p>
            <a:pPr algn="ctr" defTabSz="822912" rtl="1">
              <a:defRPr/>
            </a:pPr>
            <a:r>
              <a:rPr kumimoji="0" lang="ar-SA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RSD Title" panose="02000906030000020004" pitchFamily="2" charset="-78"/>
                <a:ea typeface="+mn-ea"/>
                <a:cs typeface="HRSD Title" panose="02000906030000020004" pitchFamily="2" charset="-78"/>
              </a:rPr>
              <a:t>(تاريخ البدء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RSD Title" panose="02000906030000020004" pitchFamily="2" charset="-78"/>
                <a:ea typeface="+mn-ea"/>
                <a:cs typeface="HRSD Title" panose="02000906030000020004" pitchFamily="2" charset="-78"/>
              </a:rPr>
              <a:t> </a:t>
            </a:r>
            <a:r>
              <a:rPr kumimoji="0" lang="ar-SA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RSD Title" panose="02000906030000020004" pitchFamily="2" charset="-78"/>
                <a:ea typeface="+mn-ea"/>
                <a:cs typeface="HRSD Title" panose="02000906030000020004" pitchFamily="2" charset="-78"/>
              </a:rPr>
              <a:t>– تاريخ الانتهاء)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CB36BB97-3F54-437F-9A7C-66D9F7EC9DAB}"/>
              </a:ext>
            </a:extLst>
          </p:cNvPr>
          <p:cNvSpPr/>
          <p:nvPr/>
        </p:nvSpPr>
        <p:spPr>
          <a:xfrm flipH="1">
            <a:off x="8897358" y="1723274"/>
            <a:ext cx="2690205" cy="19706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54306" marR="0" lvl="0" indent="-154306" algn="r" defTabSz="822912" rtl="1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rPr>
              <a:t>XXX</a:t>
            </a:r>
          </a:p>
          <a:p>
            <a:pPr marL="154306" marR="0" lvl="0" indent="-154306" algn="r" defTabSz="822912" rtl="1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prstClr val="black"/>
                </a:solidFill>
                <a:latin typeface="HRSD" panose="02000906030000020004" pitchFamily="2" charset="-78"/>
                <a:cs typeface="HRSD" panose="02000906030000020004" pitchFamily="2" charset="-78"/>
              </a:rPr>
              <a:t>XXX</a:t>
            </a:r>
          </a:p>
          <a:p>
            <a:pPr marL="154306" marR="0" lvl="0" indent="-154306" algn="r" defTabSz="822912" rtl="1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rPr>
              <a:t>XXX</a:t>
            </a:r>
            <a:endParaRPr kumimoji="0" lang="ar-SA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RSD" panose="02000906030000020004" pitchFamily="2" charset="-78"/>
              <a:ea typeface="+mn-ea"/>
              <a:cs typeface="HRSD" panose="02000906030000020004" pitchFamily="2" charset="-78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0E969011-620F-45A3-B668-3CE88A71E751}"/>
              </a:ext>
            </a:extLst>
          </p:cNvPr>
          <p:cNvSpPr/>
          <p:nvPr/>
        </p:nvSpPr>
        <p:spPr>
          <a:xfrm flipH="1">
            <a:off x="3635513" y="1255976"/>
            <a:ext cx="8001926" cy="362082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22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RSD" panose="02000906030000020004" pitchFamily="2" charset="-78"/>
              <a:ea typeface="+mn-ea"/>
              <a:cs typeface="HRSD" panose="02000906030000020004" pitchFamily="2" charset="-78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07B2C8DC-8785-4959-9435-B820EA6F8ACF}"/>
              </a:ext>
            </a:extLst>
          </p:cNvPr>
          <p:cNvSpPr/>
          <p:nvPr/>
        </p:nvSpPr>
        <p:spPr>
          <a:xfrm flipH="1">
            <a:off x="514082" y="1255994"/>
            <a:ext cx="3070700" cy="3642132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22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RSD" panose="02000906030000020004" pitchFamily="2" charset="-78"/>
              <a:ea typeface="+mn-ea"/>
              <a:cs typeface="HRSD" panose="02000906030000020004" pitchFamily="2" charset="-78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59370022-F148-43E1-BFDE-DBD01262C70F}"/>
              </a:ext>
            </a:extLst>
          </p:cNvPr>
          <p:cNvSpPr/>
          <p:nvPr/>
        </p:nvSpPr>
        <p:spPr>
          <a:xfrm flipH="1">
            <a:off x="1178620" y="1293168"/>
            <a:ext cx="1741624" cy="1590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22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16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rPr>
              <a:t>أبزر المخرجات</a:t>
            </a:r>
            <a:endParaRPr kumimoji="0" lang="en-US" sz="1600" b="1" i="0" u="sng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RSD" panose="02000906030000020004" pitchFamily="2" charset="-78"/>
              <a:ea typeface="+mn-ea"/>
              <a:cs typeface="HRSD" panose="02000906030000020004" pitchFamily="2" charset="-78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160017AE-319D-4EE3-A045-9C1F44AA099D}"/>
              </a:ext>
            </a:extLst>
          </p:cNvPr>
          <p:cNvSpPr>
            <a:spLocks/>
          </p:cNvSpPr>
          <p:nvPr/>
        </p:nvSpPr>
        <p:spPr>
          <a:xfrm flipH="1">
            <a:off x="548143" y="1732085"/>
            <a:ext cx="2721154" cy="1462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82291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RSD Title" panose="02000906030000020004" pitchFamily="2" charset="-78"/>
                <a:ea typeface="+mn-ea"/>
                <a:cs typeface="HRSD Title" panose="02000906030000020004" pitchFamily="2" charset="-78"/>
              </a:rPr>
              <a:t>XX</a:t>
            </a: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4AB2DE21-09BA-4139-95AC-50B5599575B0}"/>
              </a:ext>
            </a:extLst>
          </p:cNvPr>
          <p:cNvSpPr>
            <a:spLocks/>
          </p:cNvSpPr>
          <p:nvPr/>
        </p:nvSpPr>
        <p:spPr>
          <a:xfrm flipH="1">
            <a:off x="3303358" y="1698538"/>
            <a:ext cx="227893" cy="213297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822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rPr>
              <a:t>1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8B8DA7E1-043B-4ED6-BD7E-05B2F9B30248}"/>
              </a:ext>
            </a:extLst>
          </p:cNvPr>
          <p:cNvSpPr>
            <a:spLocks/>
          </p:cNvSpPr>
          <p:nvPr/>
        </p:nvSpPr>
        <p:spPr>
          <a:xfrm flipH="1">
            <a:off x="548143" y="2050589"/>
            <a:ext cx="2721154" cy="1462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82291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RSD Title" panose="02000906030000020004" pitchFamily="2" charset="-78"/>
                <a:ea typeface="+mn-ea"/>
                <a:cs typeface="HRSD Title" panose="02000906030000020004" pitchFamily="2" charset="-78"/>
              </a:rPr>
              <a:t>XX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1DFFDB9F-2962-4033-85D7-C281BA2D0FBA}"/>
              </a:ext>
            </a:extLst>
          </p:cNvPr>
          <p:cNvSpPr>
            <a:spLocks/>
          </p:cNvSpPr>
          <p:nvPr/>
        </p:nvSpPr>
        <p:spPr>
          <a:xfrm flipH="1">
            <a:off x="548143" y="2384002"/>
            <a:ext cx="2721154" cy="1462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82291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RSD Title" panose="02000906030000020004" pitchFamily="2" charset="-78"/>
                <a:ea typeface="+mn-ea"/>
                <a:cs typeface="HRSD Title" panose="02000906030000020004" pitchFamily="2" charset="-78"/>
              </a:rPr>
              <a:t>XX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A88F28E8-A935-47D4-AEBF-3FA59EC8AA66}"/>
              </a:ext>
            </a:extLst>
          </p:cNvPr>
          <p:cNvSpPr>
            <a:spLocks/>
          </p:cNvSpPr>
          <p:nvPr/>
        </p:nvSpPr>
        <p:spPr>
          <a:xfrm flipH="1">
            <a:off x="548143" y="2774129"/>
            <a:ext cx="2721154" cy="1462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1" indent="0" algn="r" defTabSz="724065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85"/>
              </a:spcAft>
              <a:buClr>
                <a:srgbClr val="000000">
                  <a:lumMod val="85000"/>
                  <a:lumOff val="15000"/>
                </a:srgbClr>
              </a:buClr>
              <a:buSzPct val="8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RSD Title" panose="02000906030000020004" pitchFamily="2" charset="-78"/>
                <a:ea typeface="+mn-ea"/>
                <a:cs typeface="HRSD Title" panose="02000906030000020004" pitchFamily="2" charset="-78"/>
              </a:rPr>
              <a:t>XX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C2A2A7E6-6D05-4039-B3F1-74F8800FC943}"/>
              </a:ext>
            </a:extLst>
          </p:cNvPr>
          <p:cNvSpPr>
            <a:spLocks/>
          </p:cNvSpPr>
          <p:nvPr/>
        </p:nvSpPr>
        <p:spPr>
          <a:xfrm flipH="1">
            <a:off x="548143" y="3192806"/>
            <a:ext cx="2721154" cy="1462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82291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RSD Title" panose="02000906030000020004" pitchFamily="2" charset="-78"/>
                <a:ea typeface="+mn-ea"/>
                <a:cs typeface="HRSD Title" panose="02000906030000020004" pitchFamily="2" charset="-78"/>
              </a:rPr>
              <a:t>XX</a:t>
            </a:r>
            <a:endParaRPr kumimoji="0" lang="ar-SA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RSD Title" panose="02000906030000020004" pitchFamily="2" charset="-78"/>
              <a:ea typeface="+mn-ea"/>
              <a:cs typeface="HRSD Title" panose="02000906030000020004" pitchFamily="2" charset="-78"/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5D402FE7-DEF5-486F-8AD8-FE4AAFC1481A}"/>
              </a:ext>
            </a:extLst>
          </p:cNvPr>
          <p:cNvSpPr/>
          <p:nvPr/>
        </p:nvSpPr>
        <p:spPr>
          <a:xfrm flipH="1">
            <a:off x="6279849" y="1750081"/>
            <a:ext cx="2615937" cy="30283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t"/>
          <a:lstStyle/>
          <a:p>
            <a:pPr marL="154306" marR="0" lvl="0" indent="-154306" algn="r" defTabSz="822912" rtl="1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rPr>
              <a:t>XXX</a:t>
            </a:r>
          </a:p>
          <a:p>
            <a:pPr marL="154306" marR="0" lvl="0" indent="-154306" algn="r" defTabSz="822912" rtl="1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prstClr val="black"/>
                </a:solidFill>
                <a:latin typeface="HRSD" panose="02000906030000020004" pitchFamily="2" charset="-78"/>
                <a:cs typeface="HRSD" panose="02000906030000020004" pitchFamily="2" charset="-78"/>
              </a:rPr>
              <a:t>XXX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RSD" panose="02000906030000020004" pitchFamily="2" charset="-78"/>
              <a:ea typeface="+mn-ea"/>
              <a:cs typeface="HRSD" panose="02000906030000020004" pitchFamily="2" charset="-78"/>
            </a:endParaRP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AFF8E584-B50A-40BD-B64E-EA034C90BB08}"/>
              </a:ext>
            </a:extLst>
          </p:cNvPr>
          <p:cNvSpPr>
            <a:spLocks/>
          </p:cNvSpPr>
          <p:nvPr/>
        </p:nvSpPr>
        <p:spPr>
          <a:xfrm flipH="1">
            <a:off x="3303358" y="2017042"/>
            <a:ext cx="227893" cy="213297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822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rPr>
              <a:t>2</a:t>
            </a: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BC9113A8-E7AE-4D1D-8355-8C9424E93CD1}"/>
              </a:ext>
            </a:extLst>
          </p:cNvPr>
          <p:cNvSpPr>
            <a:spLocks/>
          </p:cNvSpPr>
          <p:nvPr/>
        </p:nvSpPr>
        <p:spPr>
          <a:xfrm flipH="1">
            <a:off x="3303358" y="2350455"/>
            <a:ext cx="227893" cy="213297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822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rPr>
              <a:t>3</a:t>
            </a: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9C7B5AC3-8AA4-4554-979C-5B68DFFEA1C5}"/>
              </a:ext>
            </a:extLst>
          </p:cNvPr>
          <p:cNvSpPr>
            <a:spLocks/>
          </p:cNvSpPr>
          <p:nvPr/>
        </p:nvSpPr>
        <p:spPr>
          <a:xfrm flipH="1">
            <a:off x="3303358" y="2740582"/>
            <a:ext cx="227893" cy="213297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822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rPr>
              <a:t>4</a:t>
            </a: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41958995-A27E-469F-997A-DA843670A93D}"/>
              </a:ext>
            </a:extLst>
          </p:cNvPr>
          <p:cNvSpPr>
            <a:spLocks/>
          </p:cNvSpPr>
          <p:nvPr/>
        </p:nvSpPr>
        <p:spPr>
          <a:xfrm flipH="1">
            <a:off x="3303358" y="3147342"/>
            <a:ext cx="227893" cy="213297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822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rPr>
              <a:t>5</a:t>
            </a:r>
          </a:p>
        </p:txBody>
      </p:sp>
      <p:sp>
        <p:nvSpPr>
          <p:cNvPr id="79" name="Title 1">
            <a:extLst>
              <a:ext uri="{FF2B5EF4-FFF2-40B4-BE49-F238E27FC236}">
                <a16:creationId xmlns:a16="http://schemas.microsoft.com/office/drawing/2014/main" id="{5BC1404C-3757-4666-BBBB-F2CB1FA105E0}"/>
              </a:ext>
            </a:extLst>
          </p:cNvPr>
          <p:cNvSpPr txBox="1">
            <a:spLocks/>
          </p:cNvSpPr>
          <p:nvPr/>
        </p:nvSpPr>
        <p:spPr>
          <a:xfrm>
            <a:off x="358087" y="280092"/>
            <a:ext cx="10515600" cy="56938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 defTabSz="914400" rtl="1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>
                <a:solidFill>
                  <a:schemeClr val="accent1"/>
                </a:solidFill>
                <a:latin typeface="29LT Bukra" panose="020B0504040000000004" pitchFamily="34" charset="-78"/>
                <a:ea typeface="+mj-ea"/>
                <a:cs typeface="29LT Bukra" panose="020B0504040000000004" pitchFamily="34" charset="-78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2800" b="0" i="0" u="none" strike="noStrike" kern="1200" cap="none" spc="0" normalizeH="0" baseline="0" noProof="0" dirty="0">
                <a:ln>
                  <a:noFill/>
                </a:ln>
                <a:solidFill>
                  <a:srgbClr val="158285"/>
                </a:solidFill>
                <a:effectLst/>
                <a:uLnTx/>
                <a:uFillTx/>
                <a:latin typeface="HRSD Title" panose="02000906030000020004" pitchFamily="2" charset="-78"/>
                <a:ea typeface="+mj-ea"/>
                <a:cs typeface="HRSD Title" panose="02000906030000020004" pitchFamily="2" charset="-78"/>
              </a:rPr>
              <a:t>نظرة عامة عن حالة تقدم المشروع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158285"/>
              </a:solidFill>
              <a:effectLst/>
              <a:uLnTx/>
              <a:uFillTx/>
              <a:latin typeface="HRSD Title" panose="02000906030000020004" pitchFamily="2" charset="-78"/>
              <a:ea typeface="+mj-ea"/>
              <a:cs typeface="HRSD Title" panose="02000906030000020004" pitchFamily="2" charset="-78"/>
            </a:endParaRP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87BC7D35-B887-4BA8-84A8-FDE750C0EEE2}"/>
              </a:ext>
            </a:extLst>
          </p:cNvPr>
          <p:cNvGrpSpPr/>
          <p:nvPr/>
        </p:nvGrpSpPr>
        <p:grpSpPr>
          <a:xfrm>
            <a:off x="3628930" y="1782821"/>
            <a:ext cx="2690992" cy="2644693"/>
            <a:chOff x="1547465" y="3344306"/>
            <a:chExt cx="2502502" cy="2190123"/>
          </a:xfrm>
        </p:grpSpPr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AF22BD84-ED43-4DA2-BDC6-FFD96597F93C}"/>
                </a:ext>
              </a:extLst>
            </p:cNvPr>
            <p:cNvSpPr/>
            <p:nvPr/>
          </p:nvSpPr>
          <p:spPr>
            <a:xfrm>
              <a:off x="1880434" y="3586476"/>
              <a:ext cx="274320" cy="1461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9150" tIns="49150" rIns="49150" bIns="49150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%90</a:t>
              </a: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FD42EBDC-321F-47BB-91C5-1C73AB092E50}"/>
                </a:ext>
              </a:extLst>
            </p:cNvPr>
            <p:cNvSpPr/>
            <p:nvPr/>
          </p:nvSpPr>
          <p:spPr>
            <a:xfrm>
              <a:off x="2199035" y="3403320"/>
              <a:ext cx="274320" cy="1461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9150" tIns="49150" rIns="49150" bIns="49150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%95</a:t>
              </a: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431342E6-EBD4-45A2-B0B8-7F6436E12888}"/>
                </a:ext>
              </a:extLst>
            </p:cNvPr>
            <p:cNvSpPr/>
            <p:nvPr/>
          </p:nvSpPr>
          <p:spPr>
            <a:xfrm>
              <a:off x="2570314" y="3344306"/>
              <a:ext cx="365760" cy="1461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9150" tIns="49150" rIns="49150" bIns="49150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%100</a:t>
              </a: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0B1280BB-EC03-4258-B2EE-938D211D999F}"/>
                </a:ext>
              </a:extLst>
            </p:cNvPr>
            <p:cNvSpPr/>
            <p:nvPr/>
          </p:nvSpPr>
          <p:spPr>
            <a:xfrm>
              <a:off x="3051949" y="3403321"/>
              <a:ext cx="274320" cy="1461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9150" tIns="49150" rIns="49150" bIns="49150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%5</a:t>
              </a: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60B808B4-5B72-4638-9364-F0F0B0A40BB3}"/>
                </a:ext>
              </a:extLst>
            </p:cNvPr>
            <p:cNvSpPr/>
            <p:nvPr/>
          </p:nvSpPr>
          <p:spPr>
            <a:xfrm>
              <a:off x="3383001" y="3586477"/>
              <a:ext cx="274320" cy="1461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9150" tIns="49150" rIns="49150" bIns="49150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%10</a:t>
              </a:r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9E81BA4A-A6C0-487A-AA60-3FF0415E2BFE}"/>
                </a:ext>
              </a:extLst>
            </p:cNvPr>
            <p:cNvSpPr/>
            <p:nvPr/>
          </p:nvSpPr>
          <p:spPr>
            <a:xfrm>
              <a:off x="3573538" y="3827358"/>
              <a:ext cx="274320" cy="1461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9150" tIns="49150" rIns="49150" bIns="49150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%15</a:t>
              </a:r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CF999B0C-8F63-42BB-AF0A-78385CF1D13E}"/>
                </a:ext>
              </a:extLst>
            </p:cNvPr>
            <p:cNvSpPr/>
            <p:nvPr/>
          </p:nvSpPr>
          <p:spPr>
            <a:xfrm>
              <a:off x="3683968" y="4092161"/>
              <a:ext cx="274320" cy="1461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9150" tIns="49150" rIns="49150" bIns="49150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%20</a:t>
              </a:r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F005199E-62A1-4A17-AD28-17B274454B0F}"/>
                </a:ext>
              </a:extLst>
            </p:cNvPr>
            <p:cNvSpPr/>
            <p:nvPr/>
          </p:nvSpPr>
          <p:spPr>
            <a:xfrm>
              <a:off x="3710697" y="4353400"/>
              <a:ext cx="339270" cy="1461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9150" tIns="49150" rIns="49150" bIns="49150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%25</a:t>
              </a:r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A4C4BC94-027A-4A46-8200-131D64E1D7F4}"/>
                </a:ext>
              </a:extLst>
            </p:cNvPr>
            <p:cNvSpPr/>
            <p:nvPr/>
          </p:nvSpPr>
          <p:spPr>
            <a:xfrm>
              <a:off x="1664355" y="3824960"/>
              <a:ext cx="339270" cy="1461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9150" tIns="49150" rIns="49150" bIns="49150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%85</a:t>
              </a:r>
            </a:p>
          </p:txBody>
        </p:sp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25E93B3F-315F-492A-A289-E32E8051FDFD}"/>
                </a:ext>
              </a:extLst>
            </p:cNvPr>
            <p:cNvSpPr/>
            <p:nvPr/>
          </p:nvSpPr>
          <p:spPr>
            <a:xfrm>
              <a:off x="1547465" y="4353400"/>
              <a:ext cx="274320" cy="1461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9150" tIns="49150" rIns="49150" bIns="49150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%75</a:t>
              </a:r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3CDC50E0-CAA7-4E7E-882F-78757709BA18}"/>
                </a:ext>
              </a:extLst>
            </p:cNvPr>
            <p:cNvSpPr/>
            <p:nvPr/>
          </p:nvSpPr>
          <p:spPr>
            <a:xfrm>
              <a:off x="1603692" y="4661016"/>
              <a:ext cx="274320" cy="1461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9150" tIns="49150" rIns="49150" bIns="49150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%70</a:t>
              </a:r>
            </a:p>
          </p:txBody>
        </p:sp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A51E7529-9E51-435A-A02D-55FB63F05EEA}"/>
                </a:ext>
              </a:extLst>
            </p:cNvPr>
            <p:cNvSpPr/>
            <p:nvPr/>
          </p:nvSpPr>
          <p:spPr>
            <a:xfrm>
              <a:off x="1700028" y="4932415"/>
              <a:ext cx="274320" cy="1461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9150" tIns="49150" rIns="49150" bIns="49150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%65</a:t>
              </a:r>
            </a:p>
          </p:txBody>
        </p:sp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490E38AF-CEE6-4E28-B0C2-5AB3A9A85ADD}"/>
                </a:ext>
              </a:extLst>
            </p:cNvPr>
            <p:cNvSpPr/>
            <p:nvPr/>
          </p:nvSpPr>
          <p:spPr>
            <a:xfrm>
              <a:off x="1880434" y="5172486"/>
              <a:ext cx="274320" cy="1461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9150" tIns="49150" rIns="49150" bIns="49150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%60</a:t>
              </a:r>
            </a:p>
          </p:txBody>
        </p: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2126EF8E-B7E8-4037-BBF0-AA18C3A02798}"/>
                </a:ext>
              </a:extLst>
            </p:cNvPr>
            <p:cNvSpPr/>
            <p:nvPr/>
          </p:nvSpPr>
          <p:spPr>
            <a:xfrm>
              <a:off x="2199035" y="5326803"/>
              <a:ext cx="274320" cy="1461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9150" tIns="49150" rIns="49150" bIns="49150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%55</a:t>
              </a:r>
            </a:p>
          </p:txBody>
        </p:sp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805BC41A-FC2F-42CF-9419-40A332526727}"/>
                </a:ext>
              </a:extLst>
            </p:cNvPr>
            <p:cNvSpPr/>
            <p:nvPr/>
          </p:nvSpPr>
          <p:spPr>
            <a:xfrm>
              <a:off x="2645487" y="5388290"/>
              <a:ext cx="274320" cy="1461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9150" tIns="49150" rIns="49150" bIns="49150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%50</a:t>
              </a:r>
            </a:p>
          </p:txBody>
        </p:sp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D3D9F644-96AE-481C-BEA4-97FEC9742295}"/>
                </a:ext>
              </a:extLst>
            </p:cNvPr>
            <p:cNvSpPr/>
            <p:nvPr/>
          </p:nvSpPr>
          <p:spPr>
            <a:xfrm>
              <a:off x="3047038" y="5322070"/>
              <a:ext cx="274320" cy="1461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9150" tIns="49150" rIns="49150" bIns="49150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%45</a:t>
              </a:r>
            </a:p>
          </p:txBody>
        </p:sp>
        <p:sp>
          <p:nvSpPr>
            <p:cNvPr id="131" name="Rectangle 130">
              <a:extLst>
                <a:ext uri="{FF2B5EF4-FFF2-40B4-BE49-F238E27FC236}">
                  <a16:creationId xmlns:a16="http://schemas.microsoft.com/office/drawing/2014/main" id="{39215D62-AB0D-44FF-AC43-F60619C099D7}"/>
                </a:ext>
              </a:extLst>
            </p:cNvPr>
            <p:cNvSpPr/>
            <p:nvPr/>
          </p:nvSpPr>
          <p:spPr>
            <a:xfrm>
              <a:off x="3383001" y="5175932"/>
              <a:ext cx="274320" cy="1461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9150" tIns="49150" rIns="49150" bIns="49150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%40</a:t>
              </a:r>
            </a:p>
          </p:txBody>
        </p:sp>
        <p:sp>
          <p:nvSpPr>
            <p:cNvPr id="132" name="Rectangle 131">
              <a:extLst>
                <a:ext uri="{FF2B5EF4-FFF2-40B4-BE49-F238E27FC236}">
                  <a16:creationId xmlns:a16="http://schemas.microsoft.com/office/drawing/2014/main" id="{2D8BA8C8-E838-4773-AC2F-AA60C5980797}"/>
                </a:ext>
              </a:extLst>
            </p:cNvPr>
            <p:cNvSpPr/>
            <p:nvPr/>
          </p:nvSpPr>
          <p:spPr>
            <a:xfrm>
              <a:off x="3573538" y="4926947"/>
              <a:ext cx="274320" cy="1461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9150" tIns="49150" rIns="49150" bIns="49150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%35</a:t>
              </a:r>
            </a:p>
          </p:txBody>
        </p:sp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04DF4872-2119-4C21-93A7-F5DEE9980685}"/>
                </a:ext>
              </a:extLst>
            </p:cNvPr>
            <p:cNvSpPr/>
            <p:nvPr/>
          </p:nvSpPr>
          <p:spPr>
            <a:xfrm>
              <a:off x="3683968" y="4659398"/>
              <a:ext cx="274320" cy="1461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9150" tIns="49150" rIns="49150" bIns="49150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%30</a:t>
              </a:r>
            </a:p>
          </p:txBody>
        </p:sp>
        <p:sp>
          <p:nvSpPr>
            <p:cNvPr id="134" name="Rectangle 133">
              <a:extLst>
                <a:ext uri="{FF2B5EF4-FFF2-40B4-BE49-F238E27FC236}">
                  <a16:creationId xmlns:a16="http://schemas.microsoft.com/office/drawing/2014/main" id="{9447C7F1-81DF-4874-88C7-D5D57F7DB836}"/>
                </a:ext>
              </a:extLst>
            </p:cNvPr>
            <p:cNvSpPr/>
            <p:nvPr/>
          </p:nvSpPr>
          <p:spPr>
            <a:xfrm>
              <a:off x="1573304" y="4092162"/>
              <a:ext cx="339270" cy="1461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9150" tIns="49150" rIns="49150" bIns="49150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%80</a:t>
              </a:r>
            </a:p>
          </p:txBody>
        </p:sp>
      </p:grpSp>
      <p:sp>
        <p:nvSpPr>
          <p:cNvPr id="72" name="Rectangle 71">
            <a:extLst>
              <a:ext uri="{FF2B5EF4-FFF2-40B4-BE49-F238E27FC236}">
                <a16:creationId xmlns:a16="http://schemas.microsoft.com/office/drawing/2014/main" id="{E962B3AB-8393-4CCB-8025-B1EFF51141F1}"/>
              </a:ext>
            </a:extLst>
          </p:cNvPr>
          <p:cNvSpPr/>
          <p:nvPr/>
        </p:nvSpPr>
        <p:spPr>
          <a:xfrm flipH="1">
            <a:off x="554561" y="4341955"/>
            <a:ext cx="3002826" cy="479299"/>
          </a:xfrm>
          <a:prstGeom prst="rect">
            <a:avLst/>
          </a:prstGeom>
          <a:solidFill>
            <a:schemeClr val="bg1">
              <a:lumMod val="95000"/>
            </a:schemeClr>
          </a:solidFill>
          <a:ln w="2532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932" tIns="36467" rIns="72932" bIns="36467" rtlCol="0" anchor="ctr"/>
          <a:lstStyle/>
          <a:p>
            <a:pPr marL="0" marR="0" lvl="0" indent="0" algn="ctr" defTabSz="822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RSD" panose="02000906030000020004" pitchFamily="2" charset="-78"/>
              <a:ea typeface="+mn-ea"/>
              <a:cs typeface="HRSD" panose="02000906030000020004" pitchFamily="2" charset="-78"/>
            </a:endParaRP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AC243686-1AC6-4196-BE8B-8C41F602AC96}"/>
              </a:ext>
            </a:extLst>
          </p:cNvPr>
          <p:cNvSpPr>
            <a:spLocks/>
          </p:cNvSpPr>
          <p:nvPr/>
        </p:nvSpPr>
        <p:spPr>
          <a:xfrm flipH="1">
            <a:off x="3317447" y="4638760"/>
            <a:ext cx="127015" cy="13499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933" tIns="36467" rIns="72933" bIns="36467" rtlCol="0" anchor="ctr"/>
          <a:lstStyle/>
          <a:p>
            <a:pPr marL="0" marR="0" lvl="0" indent="0" algn="ctr" defTabSz="822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RSD" panose="02000906030000020004" pitchFamily="2" charset="-78"/>
              <a:ea typeface="+mn-ea"/>
              <a:cs typeface="HRSD" panose="02000906030000020004" pitchFamily="2" charset="-78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E1AC3C26-7275-4DE3-AE67-587C1F93B82A}"/>
              </a:ext>
            </a:extLst>
          </p:cNvPr>
          <p:cNvSpPr>
            <a:spLocks/>
          </p:cNvSpPr>
          <p:nvPr/>
        </p:nvSpPr>
        <p:spPr>
          <a:xfrm flipH="1">
            <a:off x="1499612" y="4458300"/>
            <a:ext cx="1814544" cy="860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932" tIns="36467" rIns="72932" bIns="36467" rtlCol="0" anchor="ctr"/>
          <a:lstStyle/>
          <a:p>
            <a:pPr marL="0" marR="0" lvl="0" indent="0" algn="r" defTabSz="822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105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rPr>
              <a:t>لم يبدأ العمل</a:t>
            </a: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RSD" panose="02000906030000020004" pitchFamily="2" charset="-78"/>
              <a:ea typeface="+mn-ea"/>
              <a:cs typeface="HRSD" panose="02000906030000020004" pitchFamily="2" charset="-78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AF5D632E-F300-4202-9DD9-9BECACC087DC}"/>
              </a:ext>
            </a:extLst>
          </p:cNvPr>
          <p:cNvSpPr>
            <a:spLocks/>
          </p:cNvSpPr>
          <p:nvPr/>
        </p:nvSpPr>
        <p:spPr>
          <a:xfrm flipH="1">
            <a:off x="1488814" y="4655484"/>
            <a:ext cx="1814544" cy="860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932" tIns="36467" rIns="72932" bIns="36467" rtlCol="0" anchor="ctr"/>
          <a:lstStyle/>
          <a:p>
            <a:pPr marL="0" marR="0" lvl="0" indent="0" algn="r" defTabSz="82291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105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rPr>
              <a:t>تحت التنفيذ</a:t>
            </a: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RSD" panose="02000906030000020004" pitchFamily="2" charset="-78"/>
              <a:ea typeface="+mn-ea"/>
              <a:cs typeface="HRSD" panose="02000906030000020004" pitchFamily="2" charset="-78"/>
            </a:endParaRPr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id="{BBCA6212-4D18-43C0-AABF-E3FD6B920074}"/>
              </a:ext>
            </a:extLst>
          </p:cNvPr>
          <p:cNvSpPr>
            <a:spLocks/>
          </p:cNvSpPr>
          <p:nvPr/>
        </p:nvSpPr>
        <p:spPr>
          <a:xfrm flipH="1">
            <a:off x="3317447" y="4413544"/>
            <a:ext cx="127015" cy="13499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933" tIns="36467" rIns="72933" bIns="36467" rtlCol="0" anchor="ctr"/>
          <a:lstStyle/>
          <a:p>
            <a:pPr marL="0" marR="0" lvl="0" indent="0" algn="ctr" defTabSz="822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RSD" panose="02000906030000020004" pitchFamily="2" charset="-78"/>
              <a:ea typeface="+mn-ea"/>
              <a:cs typeface="HRSD" panose="02000906030000020004" pitchFamily="2" charset="-78"/>
            </a:endParaRPr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AB4A757B-9884-4299-B002-0242A1FA1FFD}"/>
              </a:ext>
            </a:extLst>
          </p:cNvPr>
          <p:cNvSpPr>
            <a:spLocks/>
          </p:cNvSpPr>
          <p:nvPr/>
        </p:nvSpPr>
        <p:spPr>
          <a:xfrm flipH="1">
            <a:off x="2208309" y="4630293"/>
            <a:ext cx="127015" cy="13499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933" tIns="36467" rIns="72933" bIns="36467" rtlCol="0" anchor="ctr"/>
          <a:lstStyle/>
          <a:p>
            <a:pPr marL="0" marR="0" lvl="0" indent="0" algn="ctr" defTabSz="822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RSD" panose="02000906030000020004" pitchFamily="2" charset="-78"/>
              <a:ea typeface="+mn-ea"/>
              <a:cs typeface="HRSD" panose="02000906030000020004" pitchFamily="2" charset="-78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C1D18E50-BCAC-41D0-A103-2FD231445172}"/>
              </a:ext>
            </a:extLst>
          </p:cNvPr>
          <p:cNvSpPr>
            <a:spLocks/>
          </p:cNvSpPr>
          <p:nvPr/>
        </p:nvSpPr>
        <p:spPr>
          <a:xfrm flipH="1">
            <a:off x="390474" y="4424432"/>
            <a:ext cx="1814544" cy="860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932" tIns="36467" rIns="72932" bIns="36467" rtlCol="0" anchor="ctr"/>
          <a:lstStyle/>
          <a:p>
            <a:pPr marL="0" marR="0" lvl="0" indent="0" algn="r" defTabSz="822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105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rPr>
              <a:t>مكتمل </a:t>
            </a: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RSD" panose="02000906030000020004" pitchFamily="2" charset="-78"/>
              <a:ea typeface="+mn-ea"/>
              <a:cs typeface="HRSD" panose="02000906030000020004" pitchFamily="2" charset="-78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14D46331-08C7-475C-8A34-CF64C92ACEF9}"/>
              </a:ext>
            </a:extLst>
          </p:cNvPr>
          <p:cNvSpPr>
            <a:spLocks/>
          </p:cNvSpPr>
          <p:nvPr/>
        </p:nvSpPr>
        <p:spPr>
          <a:xfrm flipH="1">
            <a:off x="379676" y="4647017"/>
            <a:ext cx="1814544" cy="860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932" tIns="36467" rIns="72932" bIns="36467" rtlCol="0" anchor="ctr"/>
          <a:lstStyle/>
          <a:p>
            <a:pPr marL="0" marR="0" lvl="0" indent="0" algn="r" defTabSz="82291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105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rPr>
              <a:t>متأخر </a:t>
            </a: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RSD" panose="02000906030000020004" pitchFamily="2" charset="-78"/>
              <a:ea typeface="+mn-ea"/>
              <a:cs typeface="HRSD" panose="02000906030000020004" pitchFamily="2" charset="-78"/>
            </a:endParaRP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05FC8F41-A8A8-43AA-A753-7F79CDFD7704}"/>
              </a:ext>
            </a:extLst>
          </p:cNvPr>
          <p:cNvSpPr>
            <a:spLocks/>
          </p:cNvSpPr>
          <p:nvPr/>
        </p:nvSpPr>
        <p:spPr>
          <a:xfrm flipH="1">
            <a:off x="2208309" y="4405077"/>
            <a:ext cx="127015" cy="13499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933" tIns="36467" rIns="72933" bIns="36467" rtlCol="0" anchor="ctr"/>
          <a:lstStyle/>
          <a:p>
            <a:pPr marL="0" marR="0" lvl="0" indent="0" algn="ctr" defTabSz="822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RSD" panose="02000906030000020004" pitchFamily="2" charset="-78"/>
              <a:ea typeface="+mn-ea"/>
              <a:cs typeface="HRSD" panose="02000906030000020004" pitchFamily="2" charset="-78"/>
            </a:endParaRPr>
          </a:p>
        </p:txBody>
      </p:sp>
      <p:sp>
        <p:nvSpPr>
          <p:cNvPr id="80" name="Block Arc 79">
            <a:extLst>
              <a:ext uri="{FF2B5EF4-FFF2-40B4-BE49-F238E27FC236}">
                <a16:creationId xmlns:a16="http://schemas.microsoft.com/office/drawing/2014/main" id="{F8E6B4AC-2B43-4656-9BE8-B9CA64FF3CAB}"/>
              </a:ext>
            </a:extLst>
          </p:cNvPr>
          <p:cNvSpPr/>
          <p:nvPr/>
        </p:nvSpPr>
        <p:spPr>
          <a:xfrm flipH="1">
            <a:off x="3966928" y="1967951"/>
            <a:ext cx="1920259" cy="2194469"/>
          </a:xfrm>
          <a:prstGeom prst="blockArc">
            <a:avLst>
              <a:gd name="adj1" fmla="val 9533071"/>
              <a:gd name="adj2" fmla="val 16248790"/>
              <a:gd name="adj3" fmla="val 6622"/>
            </a:avLst>
          </a:prstGeom>
          <a:solidFill>
            <a:schemeClr val="accent2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150" tIns="49150" rIns="49150" bIns="49150" rtlCol="0" anchor="ctr"/>
          <a:lstStyle/>
          <a:p>
            <a:pPr marL="0" marR="0" lvl="0" indent="0" algn="l" defTabSz="822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7931D"/>
              </a:solidFill>
              <a:effectLst/>
              <a:uLnTx/>
              <a:uFillTx/>
              <a:latin typeface="HRSD" panose="02000906030000020004" pitchFamily="2" charset="-78"/>
              <a:ea typeface="+mn-ea"/>
              <a:cs typeface="HRSD" panose="02000906030000020004" pitchFamily="2" charset="-78"/>
            </a:endParaRPr>
          </a:p>
        </p:txBody>
      </p:sp>
      <p:sp>
        <p:nvSpPr>
          <p:cNvPr id="96" name="Block Arc 95">
            <a:extLst>
              <a:ext uri="{FF2B5EF4-FFF2-40B4-BE49-F238E27FC236}">
                <a16:creationId xmlns:a16="http://schemas.microsoft.com/office/drawing/2014/main" id="{9B64DCA9-63F7-48E3-836A-A1F5C6BAB096}"/>
              </a:ext>
            </a:extLst>
          </p:cNvPr>
          <p:cNvSpPr/>
          <p:nvPr/>
        </p:nvSpPr>
        <p:spPr>
          <a:xfrm flipH="1">
            <a:off x="4082903" y="2072278"/>
            <a:ext cx="1692322" cy="1969168"/>
          </a:xfrm>
          <a:prstGeom prst="blockArc">
            <a:avLst>
              <a:gd name="adj1" fmla="val 7841132"/>
              <a:gd name="adj2" fmla="val 16248790"/>
              <a:gd name="adj3" fmla="val 6622"/>
            </a:avLst>
          </a:prstGeom>
          <a:solidFill>
            <a:schemeClr val="accent5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150" tIns="49150" rIns="49150" bIns="49150" rtlCol="0" anchor="ctr"/>
          <a:lstStyle/>
          <a:p>
            <a:pPr marL="0" marR="0" lvl="0" indent="0" algn="l" defTabSz="822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7931D"/>
              </a:solidFill>
              <a:effectLst/>
              <a:uLnTx/>
              <a:uFillTx/>
              <a:latin typeface="HRSD" panose="02000906030000020004" pitchFamily="2" charset="-78"/>
              <a:ea typeface="+mn-ea"/>
              <a:cs typeface="HRSD" panose="02000906030000020004" pitchFamily="2" charset="-78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2B1DE73E-BB46-45AA-8BCD-CB8AD722B570}"/>
              </a:ext>
            </a:extLst>
          </p:cNvPr>
          <p:cNvSpPr/>
          <p:nvPr/>
        </p:nvSpPr>
        <p:spPr>
          <a:xfrm>
            <a:off x="4293116" y="2625247"/>
            <a:ext cx="1034246" cy="1746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150" tIns="49150" rIns="49150" bIns="49150" rtlCol="0" anchor="ctr"/>
          <a:lstStyle/>
          <a:p>
            <a:pPr marL="0" marR="0" lvl="0" indent="0" algn="ctr" defTabSz="822912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24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HRSD" panose="02000906030000020004" pitchFamily="2" charset="-78"/>
                <a:cs typeface="HRSD" panose="02000906030000020004" pitchFamily="2" charset="-78"/>
              </a:rPr>
              <a:t>الفعلي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158284"/>
              </a:solidFill>
              <a:effectLst/>
              <a:uLnTx/>
              <a:uFillTx/>
              <a:latin typeface="HRSD" panose="02000906030000020004" pitchFamily="2" charset="-78"/>
              <a:cs typeface="HRSD"/>
            </a:endParaRPr>
          </a:p>
          <a:p>
            <a:pPr marL="0" marR="0" lvl="0" indent="0" algn="ctr" defTabSz="822912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rgbClr val="158284"/>
                </a:solidFill>
                <a:latin typeface="HRSD" panose="02000906030000020004" pitchFamily="2" charset="-78"/>
                <a:cs typeface="HRSD"/>
              </a:rPr>
              <a:t>xx%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158284"/>
              </a:solidFill>
              <a:effectLst/>
              <a:uLnTx/>
              <a:uFillTx/>
              <a:latin typeface="HRSD" panose="02000906030000020004" pitchFamily="2" charset="-78"/>
              <a:cs typeface="HRSD" panose="02000906030000020004" pitchFamily="2" charset="-78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3CF5104B-33B7-4C5E-982E-89D51EAC31AD}"/>
              </a:ext>
            </a:extLst>
          </p:cNvPr>
          <p:cNvSpPr/>
          <p:nvPr/>
        </p:nvSpPr>
        <p:spPr>
          <a:xfrm>
            <a:off x="4293116" y="3387498"/>
            <a:ext cx="1034246" cy="143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150" tIns="49150" rIns="49150" bIns="49150" rtlCol="0" anchor="ctr"/>
          <a:lstStyle/>
          <a:p>
            <a:pPr marL="0" marR="0" lvl="0" indent="0" algn="ctr" defTabSz="822912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2400" b="1" i="0" u="none" strike="noStrike" kern="1200" cap="none" spc="0" normalizeH="0" baseline="0" noProof="0" dirty="0">
                <a:ln>
                  <a:noFill/>
                </a:ln>
                <a:solidFill>
                  <a:srgbClr val="F7931D"/>
                </a:solidFill>
                <a:effectLst/>
                <a:uLnTx/>
                <a:uFillTx/>
                <a:latin typeface="HRSD" panose="02000906030000020004" pitchFamily="2" charset="-78"/>
                <a:cs typeface="HRSD" panose="02000906030000020004" pitchFamily="2" charset="-78"/>
              </a:rPr>
              <a:t>المخطط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7931D"/>
                </a:solidFill>
                <a:effectLst/>
                <a:uLnTx/>
                <a:uFillTx/>
                <a:latin typeface="HRSD" panose="02000906030000020004" pitchFamily="2" charset="-78"/>
                <a:cs typeface="HRSD" panose="02000906030000020004" pitchFamily="2" charset="-78"/>
              </a:rPr>
              <a:t/>
            </a:r>
            <a:b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7931D"/>
                </a:solidFill>
                <a:effectLst/>
                <a:uLnTx/>
                <a:uFillTx/>
                <a:latin typeface="HRSD" panose="02000906030000020004" pitchFamily="2" charset="-78"/>
                <a:cs typeface="HRSD" panose="02000906030000020004" pitchFamily="2" charset="-78"/>
              </a:rPr>
            </a:br>
            <a:r>
              <a:rPr lang="en-US" sz="2400" b="1" noProof="0" dirty="0">
                <a:solidFill>
                  <a:srgbClr val="F7931D"/>
                </a:solidFill>
                <a:latin typeface="HRSD" panose="02000906030000020004" pitchFamily="2" charset="-78"/>
                <a:cs typeface="HRSD" panose="02000906030000020004" pitchFamily="2" charset="-78"/>
              </a:rPr>
              <a:t>xx%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7931D"/>
              </a:solidFill>
              <a:effectLst/>
              <a:uLnTx/>
              <a:uFillTx/>
              <a:latin typeface="HRSD" panose="02000906030000020004" pitchFamily="2" charset="-78"/>
              <a:cs typeface="HRSD" panose="02000906030000020004" pitchFamily="2" charset="-78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C5F28F41-4636-433E-A085-0BA9A2E9727C}"/>
              </a:ext>
            </a:extLst>
          </p:cNvPr>
          <p:cNvSpPr txBox="1"/>
          <p:nvPr/>
        </p:nvSpPr>
        <p:spPr>
          <a:xfrm>
            <a:off x="-478081" y="365263"/>
            <a:ext cx="3313402" cy="528972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marL="0" algn="r" defTabSz="914400" rtl="1" eaLnBrk="1" latinLnBrk="0" hangingPunct="1"/>
            <a:r>
              <a:rPr lang="ar-SA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HRSD Title" panose="02000906030000020004" pitchFamily="2" charset="-78"/>
                <a:cs typeface="HRSD Title" panose="02000906030000020004" pitchFamily="2" charset="-78"/>
              </a:rPr>
              <a:t>تاريخ بدء المشروع </a:t>
            </a:r>
            <a:r>
              <a:rPr lang="ar-SA" sz="1700" dirty="0">
                <a:solidFill>
                  <a:schemeClr val="tx1">
                    <a:lumMod val="95000"/>
                    <a:lumOff val="5000"/>
                  </a:schemeClr>
                </a:solidFill>
                <a:latin typeface="HRSD Title" panose="02000906030000020004" pitchFamily="2" charset="-78"/>
                <a:cs typeface="HRSD Title" panose="02000906030000020004" pitchFamily="2" charset="-78"/>
              </a:rPr>
              <a:t>:</a:t>
            </a:r>
            <a:r>
              <a:rPr lang="en-US" sz="17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HRSD Title" panose="02000906030000020004" pitchFamily="2" charset="-78"/>
                <a:cs typeface="HRSD Title" panose="02000906030000020004" pitchFamily="2" charset="-78"/>
              </a:rPr>
              <a:t>xxxx</a:t>
            </a:r>
            <a:r>
              <a:rPr lang="en-US" sz="1700" dirty="0">
                <a:solidFill>
                  <a:schemeClr val="tx1">
                    <a:lumMod val="95000"/>
                    <a:lumOff val="5000"/>
                  </a:schemeClr>
                </a:solidFill>
                <a:latin typeface="HRSD Title" panose="02000906030000020004" pitchFamily="2" charset="-78"/>
                <a:cs typeface="HRSD Title" panose="02000906030000020004" pitchFamily="2" charset="-78"/>
              </a:rPr>
              <a:t>/xx/</a:t>
            </a: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HRSD Title" panose="02000906030000020004" pitchFamily="2" charset="-78"/>
                <a:cs typeface="HRSD Title" panose="02000906030000020004" pitchFamily="2" charset="-78"/>
              </a:rPr>
              <a:t>xx</a:t>
            </a:r>
            <a:endParaRPr lang="ar-SA" sz="1600" dirty="0">
              <a:solidFill>
                <a:schemeClr val="tx1">
                  <a:lumMod val="95000"/>
                  <a:lumOff val="5000"/>
                </a:schemeClr>
              </a:solidFill>
              <a:latin typeface="HRSD Title" panose="02000906030000020004" pitchFamily="2" charset="-78"/>
              <a:cs typeface="HRSD Title" panose="02000906030000020004" pitchFamily="2" charset="-78"/>
            </a:endParaRPr>
          </a:p>
          <a:p>
            <a:pPr marL="0" algn="r" defTabSz="914400" rtl="1" eaLnBrk="1" latinLnBrk="0" hangingPunct="1"/>
            <a:r>
              <a:rPr lang="ar-SA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HRSD Title" panose="02000906030000020004" pitchFamily="2" charset="-78"/>
                <a:cs typeface="HRSD Title" panose="02000906030000020004" pitchFamily="2" charset="-78"/>
              </a:rPr>
              <a:t>تاريخ انتهاء المشروع: </a:t>
            </a:r>
            <a:r>
              <a:rPr lang="en-US" sz="17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HRSD Title" panose="02000906030000020004" pitchFamily="2" charset="-78"/>
                <a:cs typeface="HRSD Title" panose="02000906030000020004" pitchFamily="2" charset="-78"/>
              </a:rPr>
              <a:t>xxxx</a:t>
            </a:r>
            <a:r>
              <a:rPr lang="en-US" sz="1700" dirty="0">
                <a:solidFill>
                  <a:schemeClr val="tx1">
                    <a:lumMod val="95000"/>
                    <a:lumOff val="5000"/>
                  </a:schemeClr>
                </a:solidFill>
                <a:latin typeface="HRSD Title" panose="02000906030000020004" pitchFamily="2" charset="-78"/>
                <a:cs typeface="HRSD Title" panose="02000906030000020004" pitchFamily="2" charset="-78"/>
              </a:rPr>
              <a:t>/xx/xx</a:t>
            </a:r>
            <a:endParaRPr lang="ar-SA" sz="1200" dirty="0">
              <a:solidFill>
                <a:schemeClr val="tx1">
                  <a:lumMod val="95000"/>
                  <a:lumOff val="5000"/>
                </a:schemeClr>
              </a:solidFill>
              <a:latin typeface="HRSD Title" panose="02000906030000020004" pitchFamily="2" charset="-78"/>
              <a:cs typeface="HRSD Title" panose="02000906030000020004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151701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FBFDC26-58D7-41D6-BCF1-38D68AA8B11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FBFDC26-58D7-41D6-BCF1-38D68AA8B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C5274CA-FC1D-467D-BF65-C0E5F8CD13F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>
            <a:noFill/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36" name="Table 35">
            <a:extLst>
              <a:ext uri="{FF2B5EF4-FFF2-40B4-BE49-F238E27FC236}">
                <a16:creationId xmlns:a16="http://schemas.microsoft.com/office/drawing/2014/main" id="{C5E671AA-57F0-4187-8D0F-2404F2B7FB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5225912"/>
              </p:ext>
            </p:extLst>
          </p:nvPr>
        </p:nvGraphicFramePr>
        <p:xfrm>
          <a:off x="537492" y="1011377"/>
          <a:ext cx="11097408" cy="287379"/>
        </p:xfrm>
        <a:graphic>
          <a:graphicData uri="http://schemas.openxmlformats.org/drawingml/2006/table">
            <a:tbl>
              <a:tblPr rtl="1"/>
              <a:tblGrid>
                <a:gridCol w="9247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2478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2478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2478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2478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24784">
                  <a:extLst>
                    <a:ext uri="{9D8B030D-6E8A-4147-A177-3AD203B41FA5}">
                      <a16:colId xmlns:a16="http://schemas.microsoft.com/office/drawing/2014/main" val="2654720030"/>
                    </a:ext>
                  </a:extLst>
                </a:gridCol>
                <a:gridCol w="924784">
                  <a:extLst>
                    <a:ext uri="{9D8B030D-6E8A-4147-A177-3AD203B41FA5}">
                      <a16:colId xmlns:a16="http://schemas.microsoft.com/office/drawing/2014/main" val="1769542743"/>
                    </a:ext>
                  </a:extLst>
                </a:gridCol>
                <a:gridCol w="924784">
                  <a:extLst>
                    <a:ext uri="{9D8B030D-6E8A-4147-A177-3AD203B41FA5}">
                      <a16:colId xmlns:a16="http://schemas.microsoft.com/office/drawing/2014/main" val="3261700050"/>
                    </a:ext>
                  </a:extLst>
                </a:gridCol>
                <a:gridCol w="924784">
                  <a:extLst>
                    <a:ext uri="{9D8B030D-6E8A-4147-A177-3AD203B41FA5}">
                      <a16:colId xmlns:a16="http://schemas.microsoft.com/office/drawing/2014/main" val="112187479"/>
                    </a:ext>
                  </a:extLst>
                </a:gridCol>
                <a:gridCol w="924784">
                  <a:extLst>
                    <a:ext uri="{9D8B030D-6E8A-4147-A177-3AD203B41FA5}">
                      <a16:colId xmlns:a16="http://schemas.microsoft.com/office/drawing/2014/main" val="3598279573"/>
                    </a:ext>
                  </a:extLst>
                </a:gridCol>
                <a:gridCol w="924784">
                  <a:extLst>
                    <a:ext uri="{9D8B030D-6E8A-4147-A177-3AD203B41FA5}">
                      <a16:colId xmlns:a16="http://schemas.microsoft.com/office/drawing/2014/main" val="565603132"/>
                    </a:ext>
                  </a:extLst>
                </a:gridCol>
                <a:gridCol w="924784">
                  <a:extLst>
                    <a:ext uri="{9D8B030D-6E8A-4147-A177-3AD203B41FA5}">
                      <a16:colId xmlns:a16="http://schemas.microsoft.com/office/drawing/2014/main" val="352684359"/>
                    </a:ext>
                  </a:extLst>
                </a:gridCol>
              </a:tblGrid>
              <a:tr h="287379">
                <a:tc>
                  <a:txBody>
                    <a:bodyPr/>
                    <a:lstStyle/>
                    <a:p>
                      <a:pPr algn="ctr" rtl="1" fontAlgn="ctr"/>
                      <a:r>
                        <a:rPr lang="ar-AE" sz="1050" b="1" i="0" u="none" strike="noStrike">
                          <a:solidFill>
                            <a:schemeClr val="bg1"/>
                          </a:solidFill>
                          <a:effectLst/>
                          <a:latin typeface="HRSD" panose="02000906030000020004" pitchFamily="2" charset="-78"/>
                          <a:cs typeface="HRSD" panose="02000906030000020004" pitchFamily="2" charset="-78"/>
                        </a:rPr>
                        <a:t>الأسبوع 1</a:t>
                      </a:r>
                      <a:endParaRPr lang="en-US" sz="1050" b="1" i="0" u="none" strike="noStrike">
                        <a:solidFill>
                          <a:schemeClr val="bg1"/>
                        </a:solidFill>
                        <a:effectLst/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marL="5773" marR="5773" marT="635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kumimoji="0" lang="ar-AE" sz="10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الأسبوع </a:t>
                      </a:r>
                      <a:r>
                        <a:rPr kumimoji="0" lang="en-US" sz="10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2</a:t>
                      </a:r>
                      <a:endParaRPr lang="en-US" sz="1050" b="1" i="0" u="none" strike="noStrike">
                        <a:solidFill>
                          <a:schemeClr val="bg1"/>
                        </a:solidFill>
                        <a:effectLst/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marL="5773" marR="5773" marT="635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kumimoji="0" lang="ar-AE" sz="10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الأسبوع</a:t>
                      </a:r>
                      <a:r>
                        <a:rPr kumimoji="0" lang="en-US" sz="10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3 </a:t>
                      </a:r>
                      <a:endParaRPr lang="en-US" sz="1050" b="1" i="0" u="none" strike="noStrike">
                        <a:solidFill>
                          <a:schemeClr val="bg1"/>
                        </a:solidFill>
                        <a:effectLst/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marL="5773" marR="5773" marT="635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AE" sz="10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الأسبوع</a:t>
                      </a:r>
                      <a:r>
                        <a:rPr kumimoji="0" lang="en-US" sz="10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4 </a:t>
                      </a:r>
                    </a:p>
                  </a:txBody>
                  <a:tcPr marL="5773" marR="5773" marT="635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AE" sz="10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الأسبوع</a:t>
                      </a:r>
                      <a:r>
                        <a:rPr kumimoji="0" lang="en-US" sz="10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5 </a:t>
                      </a:r>
                    </a:p>
                  </a:txBody>
                  <a:tcPr marL="5773" marR="5773" marT="635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AE" sz="10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الأسبوع</a:t>
                      </a:r>
                      <a:r>
                        <a:rPr kumimoji="0" lang="en-US" sz="10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6 </a:t>
                      </a:r>
                    </a:p>
                  </a:txBody>
                  <a:tcPr marL="5773" marR="5773" marT="635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AE" sz="10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الأسبوع</a:t>
                      </a:r>
                      <a:r>
                        <a:rPr kumimoji="0" lang="en-US" sz="10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7 </a:t>
                      </a:r>
                    </a:p>
                  </a:txBody>
                  <a:tcPr marL="5773" marR="5773" marT="635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AE" sz="10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الأسبوع</a:t>
                      </a:r>
                      <a:r>
                        <a:rPr kumimoji="0" lang="en-US" sz="10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8 </a:t>
                      </a:r>
                    </a:p>
                  </a:txBody>
                  <a:tcPr marL="5773" marR="5773" marT="635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AE" sz="10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الأسبوع</a:t>
                      </a:r>
                      <a:r>
                        <a:rPr kumimoji="0" lang="en-US" sz="10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9 </a:t>
                      </a:r>
                    </a:p>
                  </a:txBody>
                  <a:tcPr marL="5773" marR="5773" marT="635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AE" sz="10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الأسبوع</a:t>
                      </a:r>
                      <a:r>
                        <a:rPr kumimoji="0" lang="en-US" sz="10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10 </a:t>
                      </a:r>
                    </a:p>
                  </a:txBody>
                  <a:tcPr marL="5773" marR="5773" marT="635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AE" sz="10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الأسبوع</a:t>
                      </a:r>
                      <a:r>
                        <a:rPr kumimoji="0" lang="en-US" sz="105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11 </a:t>
                      </a:r>
                    </a:p>
                  </a:txBody>
                  <a:tcPr marL="5773" marR="5773" marT="635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AE" sz="10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الأسبوع</a:t>
                      </a:r>
                      <a:r>
                        <a:rPr kumimoji="0" lang="en-US" sz="10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12 </a:t>
                      </a:r>
                    </a:p>
                  </a:txBody>
                  <a:tcPr marL="5773" marR="5773" marT="635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5" name="Rectangle 34">
            <a:extLst>
              <a:ext uri="{FF2B5EF4-FFF2-40B4-BE49-F238E27FC236}">
                <a16:creationId xmlns:a16="http://schemas.microsoft.com/office/drawing/2014/main" id="{1497A446-3E6A-4BFD-894B-5BFDE1C2E7DD}"/>
              </a:ext>
            </a:extLst>
          </p:cNvPr>
          <p:cNvSpPr/>
          <p:nvPr/>
        </p:nvSpPr>
        <p:spPr>
          <a:xfrm flipH="1">
            <a:off x="8989563" y="5501093"/>
            <a:ext cx="2617082" cy="9343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54306" marR="0" lvl="0" indent="-154306" algn="r" defTabSz="822912" rtl="1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rPr>
              <a:t>XXX</a:t>
            </a:r>
          </a:p>
          <a:p>
            <a:pPr marL="154306" marR="0" lvl="0" indent="-154306" algn="r" defTabSz="822912" rtl="1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prstClr val="black"/>
                </a:solidFill>
                <a:latin typeface="HRSD" panose="02000906030000020004" pitchFamily="2" charset="-78"/>
                <a:cs typeface="HRSD" panose="02000906030000020004" pitchFamily="2" charset="-78"/>
              </a:rPr>
              <a:t>XXX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RSD" panose="02000906030000020004" pitchFamily="2" charset="-78"/>
              <a:ea typeface="+mn-ea"/>
              <a:cs typeface="HRSD" panose="02000906030000020004" pitchFamily="2" charset="-78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B9AFF76-1B62-438A-B436-F9DE3B531AE0}"/>
              </a:ext>
            </a:extLst>
          </p:cNvPr>
          <p:cNvSpPr/>
          <p:nvPr/>
        </p:nvSpPr>
        <p:spPr>
          <a:xfrm flipH="1">
            <a:off x="3804243" y="5105206"/>
            <a:ext cx="2406494" cy="2909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22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rPr>
              <a:t>مؤشر مخاطر المشروع العام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RSD" panose="02000906030000020004" pitchFamily="2" charset="-78"/>
              <a:ea typeface="+mn-ea"/>
              <a:cs typeface="HRSD" panose="02000906030000020004" pitchFamily="2" charset="-78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3BB2BAEC-30BF-47A8-9131-2FDA48A075EB}"/>
              </a:ext>
            </a:extLst>
          </p:cNvPr>
          <p:cNvSpPr/>
          <p:nvPr/>
        </p:nvSpPr>
        <p:spPr>
          <a:xfrm flipH="1">
            <a:off x="8991135" y="5169150"/>
            <a:ext cx="2617082" cy="35198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22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RSD Title" panose="02000906030000020004" pitchFamily="2" charset="-78"/>
                <a:ea typeface="+mn-ea"/>
                <a:cs typeface="HRSD Title" panose="02000906030000020004" pitchFamily="2" charset="-78"/>
              </a:rPr>
              <a:t>أبزر المخاطر 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RSD Title" panose="02000906030000020004" pitchFamily="2" charset="-78"/>
              <a:ea typeface="+mn-ea"/>
              <a:cs typeface="HRSD Title" panose="02000906030000020004" pitchFamily="2" charset="-78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44D8AB4-2A41-449D-ACFD-714D8ED0AE24}"/>
              </a:ext>
            </a:extLst>
          </p:cNvPr>
          <p:cNvSpPr/>
          <p:nvPr/>
        </p:nvSpPr>
        <p:spPr>
          <a:xfrm flipH="1">
            <a:off x="6283089" y="5169150"/>
            <a:ext cx="2617082" cy="35198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22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RSD Title" panose="02000906030000020004" pitchFamily="2" charset="-78"/>
                <a:ea typeface="+mn-ea"/>
                <a:cs typeface="HRSD Title" panose="02000906030000020004" pitchFamily="2" charset="-78"/>
              </a:rPr>
              <a:t>خطة الاستجابة 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RSD Title" panose="02000906030000020004" pitchFamily="2" charset="-78"/>
              <a:ea typeface="+mn-ea"/>
              <a:cs typeface="HRSD Title" panose="02000906030000020004" pitchFamily="2" charset="-78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81180279-BD1D-438E-B264-0A9105699B68}"/>
              </a:ext>
            </a:extLst>
          </p:cNvPr>
          <p:cNvSpPr/>
          <p:nvPr/>
        </p:nvSpPr>
        <p:spPr>
          <a:xfrm flipH="1">
            <a:off x="6283089" y="5501094"/>
            <a:ext cx="2617082" cy="9343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marR="0" lvl="0" indent="-171450" algn="r" defTabSz="822912" rtl="1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rPr>
              <a:t>XXX</a:t>
            </a:r>
          </a:p>
          <a:p>
            <a:pPr marL="171450" marR="0" lvl="0" indent="-171450" algn="r" defTabSz="822912" rtl="1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prstClr val="black"/>
                </a:solidFill>
                <a:latin typeface="HRSD" panose="02000906030000020004" pitchFamily="2" charset="-78"/>
                <a:cs typeface="HRSD" panose="02000906030000020004" pitchFamily="2" charset="-78"/>
              </a:rPr>
              <a:t>XXX</a:t>
            </a:r>
            <a:endParaRPr kumimoji="0" lang="ar-SA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RSD" panose="02000906030000020004" pitchFamily="2" charset="-78"/>
              <a:ea typeface="+mn-ea"/>
              <a:cs typeface="HRSD" panose="02000906030000020004" pitchFamily="2" charset="-78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4CF69A7-35F9-4BAB-B758-2DD48C7080AE}"/>
              </a:ext>
            </a:extLst>
          </p:cNvPr>
          <p:cNvGrpSpPr/>
          <p:nvPr/>
        </p:nvGrpSpPr>
        <p:grpSpPr>
          <a:xfrm flipH="1">
            <a:off x="537488" y="5182683"/>
            <a:ext cx="3070700" cy="1096539"/>
            <a:chOff x="8551576" y="5236060"/>
            <a:chExt cx="3070700" cy="1096539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696BE53F-ECC9-4AAD-BCA6-B5D7800CE2E4}"/>
                </a:ext>
              </a:extLst>
            </p:cNvPr>
            <p:cNvSpPr/>
            <p:nvPr/>
          </p:nvSpPr>
          <p:spPr>
            <a:xfrm>
              <a:off x="8551576" y="5236060"/>
              <a:ext cx="3070700" cy="109653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32" cap="flat" cmpd="sng" algn="ctr">
              <a:solidFill>
                <a:schemeClr val="bg1">
                  <a:lumMod val="8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932" tIns="36467" rIns="72932" bIns="36467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endParaRPr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700F840D-1972-4681-B4E9-C52AED9E1876}"/>
                </a:ext>
              </a:extLst>
            </p:cNvPr>
            <p:cNvSpPr>
              <a:spLocks/>
            </p:cNvSpPr>
            <p:nvPr/>
          </p:nvSpPr>
          <p:spPr>
            <a:xfrm>
              <a:off x="8664501" y="5324493"/>
              <a:ext cx="127015" cy="13499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933" tIns="36467" rIns="72933" bIns="36467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endParaRPr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89E317E8-5F83-48FB-B439-3AB30538D3B0}"/>
                </a:ext>
              </a:extLst>
            </p:cNvPr>
            <p:cNvSpPr>
              <a:spLocks/>
            </p:cNvSpPr>
            <p:nvPr/>
          </p:nvSpPr>
          <p:spPr>
            <a:xfrm>
              <a:off x="8664501" y="5521402"/>
              <a:ext cx="127015" cy="13499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933" tIns="36467" rIns="72933" bIns="36467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482D12F5-C8E1-4221-812E-D945E511C8F5}"/>
                </a:ext>
              </a:extLst>
            </p:cNvPr>
            <p:cNvSpPr>
              <a:spLocks/>
            </p:cNvSpPr>
            <p:nvPr/>
          </p:nvSpPr>
          <p:spPr>
            <a:xfrm>
              <a:off x="8664501" y="5718310"/>
              <a:ext cx="127015" cy="134990"/>
            </a:xfrm>
            <a:prstGeom prst="ellipse">
              <a:avLst/>
            </a:prstGeom>
            <a:solidFill>
              <a:srgbClr val="FA39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933" tIns="36467" rIns="72933" bIns="36467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9196870F-4FFA-42D8-A23D-A69B34CF861D}"/>
                </a:ext>
              </a:extLst>
            </p:cNvPr>
            <p:cNvSpPr>
              <a:spLocks/>
            </p:cNvSpPr>
            <p:nvPr/>
          </p:nvSpPr>
          <p:spPr>
            <a:xfrm>
              <a:off x="8816673" y="5349770"/>
              <a:ext cx="1814544" cy="8600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932" tIns="36467" rIns="72932" bIns="36467" rtlCol="0" anchor="ctr"/>
            <a:lstStyle/>
            <a:p>
              <a:pPr marL="0" marR="0" lvl="0" indent="0" algn="r" defTabSz="822912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SA" sz="105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على المسار – خطر منخفض</a:t>
              </a:r>
              <a:endParaRPr kumimoji="0" lang="en-US" sz="10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B73973A7-133A-4561-B92F-55FDBE07EB65}"/>
                </a:ext>
              </a:extLst>
            </p:cNvPr>
            <p:cNvSpPr>
              <a:spLocks/>
            </p:cNvSpPr>
            <p:nvPr/>
          </p:nvSpPr>
          <p:spPr>
            <a:xfrm>
              <a:off x="8816673" y="5546482"/>
              <a:ext cx="1814544" cy="8600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932" tIns="36467" rIns="72932" bIns="36467" rtlCol="0" anchor="ctr"/>
            <a:lstStyle/>
            <a:p>
              <a:pPr marL="0" marR="0" lvl="0" indent="0" algn="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SA" sz="105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تأخر جزئي – خطر متوسط</a:t>
              </a:r>
              <a:endParaRPr kumimoji="0" lang="en-US" sz="105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7F621AC4-B7A5-421C-982D-E171E989F38F}"/>
                </a:ext>
              </a:extLst>
            </p:cNvPr>
            <p:cNvSpPr>
              <a:spLocks/>
            </p:cNvSpPr>
            <p:nvPr/>
          </p:nvSpPr>
          <p:spPr>
            <a:xfrm>
              <a:off x="8816673" y="5743195"/>
              <a:ext cx="1814544" cy="8600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932" tIns="36467" rIns="72932" bIns="36467" rtlCol="0" anchor="ctr"/>
            <a:lstStyle/>
            <a:p>
              <a:pPr marL="0" marR="0" lvl="0" indent="0" algn="r" defTabSz="822912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-SA" sz="105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تأخر عالي – خطر عالي </a:t>
              </a:r>
              <a:endParaRPr kumimoji="0" lang="en-US" sz="105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225A341D-2A81-420D-9454-F8C2230CB87F}"/>
                </a:ext>
              </a:extLst>
            </p:cNvPr>
            <p:cNvSpPr>
              <a:spLocks/>
            </p:cNvSpPr>
            <p:nvPr/>
          </p:nvSpPr>
          <p:spPr>
            <a:xfrm>
              <a:off x="8816673" y="6136620"/>
              <a:ext cx="2460734" cy="8600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932" tIns="36467" rIns="72932" bIns="36467" rtlCol="0" anchor="ctr"/>
            <a:lstStyle/>
            <a:p>
              <a:pPr marL="0" marR="0" lvl="0" indent="0" algn="l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endParaRPr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BCE5FE85-B8F8-4BAE-8381-C8876D0FD5DA}"/>
              </a:ext>
            </a:extLst>
          </p:cNvPr>
          <p:cNvGrpSpPr>
            <a:grpSpLocks noChangeAspect="1"/>
          </p:cNvGrpSpPr>
          <p:nvPr/>
        </p:nvGrpSpPr>
        <p:grpSpPr>
          <a:xfrm flipH="1">
            <a:off x="3852315" y="5404773"/>
            <a:ext cx="2007405" cy="1737361"/>
            <a:chOff x="4522141" y="3859502"/>
            <a:chExt cx="2671882" cy="2025665"/>
          </a:xfrm>
        </p:grpSpPr>
        <p:sp>
          <p:nvSpPr>
            <p:cNvPr id="86" name="Block Arc 85">
              <a:extLst>
                <a:ext uri="{FF2B5EF4-FFF2-40B4-BE49-F238E27FC236}">
                  <a16:creationId xmlns:a16="http://schemas.microsoft.com/office/drawing/2014/main" id="{5D0E9D5D-990B-4FBF-B36E-6A7819D7C62C}"/>
                </a:ext>
              </a:extLst>
            </p:cNvPr>
            <p:cNvSpPr/>
            <p:nvPr/>
          </p:nvSpPr>
          <p:spPr>
            <a:xfrm>
              <a:off x="4932093" y="4011536"/>
              <a:ext cx="1873625" cy="1873630"/>
            </a:xfrm>
            <a:prstGeom prst="blockArc">
              <a:avLst>
                <a:gd name="adj1" fmla="val 10800000"/>
                <a:gd name="adj2" fmla="val 13487009"/>
                <a:gd name="adj3" fmla="val 11521"/>
              </a:avLst>
            </a:prstGeom>
            <a:solidFill>
              <a:srgbClr val="43B02A">
                <a:lumMod val="20000"/>
                <a:lumOff val="8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49150" tIns="49150" rIns="49150" bIns="49150" rtlCol="0" anchor="ctr"/>
            <a:lstStyle/>
            <a:p>
              <a:pPr marL="0" marR="0" lvl="0" indent="0" algn="l" defTabSz="8229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endParaRP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D40BB584-E341-42B7-BA8F-F8546DE09D6F}"/>
                </a:ext>
              </a:extLst>
            </p:cNvPr>
            <p:cNvSpPr/>
            <p:nvPr/>
          </p:nvSpPr>
          <p:spPr>
            <a:xfrm>
              <a:off x="6736823" y="4847163"/>
              <a:ext cx="457200" cy="146139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49150" tIns="49150" rIns="49150" bIns="49150" rtlCol="0" anchor="ctr"/>
            <a:lstStyle/>
            <a:p>
              <a:pPr marL="0" marR="0" lvl="0" indent="0" algn="ctr" defTabSz="8229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HIGH</a:t>
              </a:r>
            </a:p>
          </p:txBody>
        </p:sp>
        <p:sp>
          <p:nvSpPr>
            <p:cNvPr id="88" name="Block Arc 87">
              <a:extLst>
                <a:ext uri="{FF2B5EF4-FFF2-40B4-BE49-F238E27FC236}">
                  <a16:creationId xmlns:a16="http://schemas.microsoft.com/office/drawing/2014/main" id="{F6BEC7C8-EC05-4C12-B8BD-F240776F1C88}"/>
                </a:ext>
              </a:extLst>
            </p:cNvPr>
            <p:cNvSpPr/>
            <p:nvPr/>
          </p:nvSpPr>
          <p:spPr>
            <a:xfrm>
              <a:off x="4932093" y="4011536"/>
              <a:ext cx="1873625" cy="1873630"/>
            </a:xfrm>
            <a:prstGeom prst="blockArc">
              <a:avLst>
                <a:gd name="adj1" fmla="val 13450388"/>
                <a:gd name="adj2" fmla="val 18692502"/>
                <a:gd name="adj3" fmla="val 11612"/>
              </a:avLst>
            </a:prstGeom>
            <a:solidFill>
              <a:srgbClr val="EAAA00">
                <a:lumMod val="20000"/>
                <a:lumOff val="8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49150" tIns="49150" rIns="49150" bIns="49150" rtlCol="0" anchor="ctr"/>
            <a:lstStyle/>
            <a:p>
              <a:pPr marL="0" marR="0" lvl="0" indent="0" algn="l" defTabSz="8229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endParaRPr>
            </a:p>
          </p:txBody>
        </p:sp>
        <p:sp>
          <p:nvSpPr>
            <p:cNvPr id="89" name="Block Arc 88">
              <a:extLst>
                <a:ext uri="{FF2B5EF4-FFF2-40B4-BE49-F238E27FC236}">
                  <a16:creationId xmlns:a16="http://schemas.microsoft.com/office/drawing/2014/main" id="{67C2B5C7-E4A6-4698-8501-20A6C8A543BD}"/>
                </a:ext>
              </a:extLst>
            </p:cNvPr>
            <p:cNvSpPr/>
            <p:nvPr/>
          </p:nvSpPr>
          <p:spPr>
            <a:xfrm>
              <a:off x="4932094" y="4011537"/>
              <a:ext cx="1873625" cy="1873630"/>
            </a:xfrm>
            <a:prstGeom prst="blockArc">
              <a:avLst>
                <a:gd name="adj1" fmla="val 18678467"/>
                <a:gd name="adj2" fmla="val 49334"/>
                <a:gd name="adj3" fmla="val 11693"/>
              </a:avLst>
            </a:prstGeom>
            <a:solidFill>
              <a:srgbClr val="FF979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49150" tIns="49150" rIns="49150" bIns="49150" rtlCol="0" anchor="ctr"/>
            <a:lstStyle/>
            <a:p>
              <a:pPr marL="0" marR="0" lvl="0" indent="0" algn="l" defTabSz="8229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endParaRP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FA9B346D-90CA-41F2-913D-5EB5F329ED03}"/>
                </a:ext>
              </a:extLst>
            </p:cNvPr>
            <p:cNvSpPr/>
            <p:nvPr/>
          </p:nvSpPr>
          <p:spPr>
            <a:xfrm>
              <a:off x="5592227" y="3859502"/>
              <a:ext cx="524066" cy="141941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49150" tIns="49150" rIns="49150" bIns="49150" rtlCol="0" anchor="ctr"/>
            <a:lstStyle/>
            <a:p>
              <a:pPr marL="0" marR="0" lvl="0" indent="0" algn="ctr" defTabSz="8229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MEDIUM</a:t>
              </a: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B09CAE55-5024-4344-99AA-6CE4BB4EDAC2}"/>
                </a:ext>
              </a:extLst>
            </p:cNvPr>
            <p:cNvSpPr/>
            <p:nvPr/>
          </p:nvSpPr>
          <p:spPr>
            <a:xfrm>
              <a:off x="4522141" y="4847450"/>
              <a:ext cx="457200" cy="146139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49150" tIns="49150" rIns="49150" bIns="49150" rtlCol="0" anchor="ctr"/>
            <a:lstStyle/>
            <a:p>
              <a:pPr marL="0" marR="0" lvl="0" indent="0" algn="ctr" defTabSz="8229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LOW</a:t>
              </a:r>
            </a:p>
          </p:txBody>
        </p:sp>
      </p:grpSp>
      <p:sp>
        <p:nvSpPr>
          <p:cNvPr id="92" name="Isosceles Triangle 91">
            <a:extLst>
              <a:ext uri="{FF2B5EF4-FFF2-40B4-BE49-F238E27FC236}">
                <a16:creationId xmlns:a16="http://schemas.microsoft.com/office/drawing/2014/main" id="{38AB2D7A-8C64-4BB8-AAC3-C339F7F9BD12}"/>
              </a:ext>
            </a:extLst>
          </p:cNvPr>
          <p:cNvSpPr/>
          <p:nvPr/>
        </p:nvSpPr>
        <p:spPr>
          <a:xfrm rot="18400385" flipH="1">
            <a:off x="4482071" y="5732009"/>
            <a:ext cx="139921" cy="792330"/>
          </a:xfrm>
          <a:prstGeom prst="triangle">
            <a:avLst/>
          </a:prstGeom>
          <a:solidFill>
            <a:srgbClr val="000000">
              <a:lumMod val="50000"/>
              <a:lumOff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49150" tIns="49150" rIns="49150" bIns="49150" rtlCol="0" anchor="ctr"/>
          <a:lstStyle/>
          <a:p>
            <a:pPr marL="0" marR="0" lvl="0" indent="0" algn="l" defTabSz="8229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RSD" panose="02000906030000020004" pitchFamily="2" charset="-78"/>
              <a:ea typeface="+mn-ea"/>
              <a:cs typeface="HRSD" panose="02000906030000020004" pitchFamily="2" charset="-78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17E5B0A1-7995-4BDA-BB96-6A8A081AE2D2}"/>
              </a:ext>
            </a:extLst>
          </p:cNvPr>
          <p:cNvSpPr/>
          <p:nvPr/>
        </p:nvSpPr>
        <p:spPr>
          <a:xfrm flipH="1">
            <a:off x="503683" y="5015071"/>
            <a:ext cx="11152398" cy="1480187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22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RSD" panose="02000906030000020004" pitchFamily="2" charset="-78"/>
              <a:ea typeface="+mn-ea"/>
              <a:cs typeface="HRSD" panose="02000906030000020004" pitchFamily="2" charset="-78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CC8645D-33E6-489C-8B48-80DE66D98717}"/>
              </a:ext>
            </a:extLst>
          </p:cNvPr>
          <p:cNvSpPr/>
          <p:nvPr/>
        </p:nvSpPr>
        <p:spPr>
          <a:xfrm flipH="1">
            <a:off x="3771185" y="1368018"/>
            <a:ext cx="2406494" cy="2909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22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RSD Title" panose="02000906030000020004" pitchFamily="2" charset="-78"/>
                <a:ea typeface="+mn-ea"/>
                <a:cs typeface="HRSD Title" panose="02000906030000020004" pitchFamily="2" charset="-78"/>
              </a:rPr>
              <a:t>نسبة الإنجاز في المشروع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RSD Title" panose="02000906030000020004" pitchFamily="2" charset="-78"/>
              <a:ea typeface="+mn-ea"/>
              <a:cs typeface="HRSD Title" panose="02000906030000020004" pitchFamily="2" charset="-78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6D0DF503-320B-4A15-B9AA-2C88B854E452}"/>
              </a:ext>
            </a:extLst>
          </p:cNvPr>
          <p:cNvSpPr/>
          <p:nvPr/>
        </p:nvSpPr>
        <p:spPr>
          <a:xfrm flipH="1">
            <a:off x="8970482" y="1373241"/>
            <a:ext cx="2617082" cy="4308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2291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RSD Title" panose="02000906030000020004" pitchFamily="2" charset="-78"/>
                <a:ea typeface="+mn-ea"/>
                <a:cs typeface="HRSD Title" panose="02000906030000020004" pitchFamily="2" charset="-78"/>
              </a:rPr>
              <a:t>أبرز الأنشطة المكتملة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RSD Title" panose="02000906030000020004" pitchFamily="2" charset="-78"/>
              <a:ea typeface="+mn-ea"/>
              <a:cs typeface="HRSD Title" panose="02000906030000020004" pitchFamily="2" charset="-78"/>
            </a:endParaRPr>
          </a:p>
          <a:p>
            <a:pPr marL="0" marR="0" lvl="0" indent="0" algn="ctr" defTabSz="82291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RSD Title" panose="02000906030000020004" pitchFamily="2" charset="-78"/>
                <a:ea typeface="+mn-ea"/>
                <a:cs typeface="HRSD Title" panose="02000906030000020004" pitchFamily="2" charset="-78"/>
              </a:rPr>
              <a:t>(6 نوفمبر 2022– 10 نوفمبر 2022)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RSD Title" panose="02000906030000020004" pitchFamily="2" charset="-78"/>
              <a:ea typeface="+mn-ea"/>
              <a:cs typeface="HRSD Title" panose="02000906030000020004" pitchFamily="2" charset="-78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2FBDA2CC-8C35-43FD-9F40-C6F76A7193D2}"/>
              </a:ext>
            </a:extLst>
          </p:cNvPr>
          <p:cNvSpPr/>
          <p:nvPr/>
        </p:nvSpPr>
        <p:spPr>
          <a:xfrm flipH="1">
            <a:off x="6280221" y="1373241"/>
            <a:ext cx="2617082" cy="4308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2291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RSD Title" panose="02000906030000020004" pitchFamily="2" charset="-78"/>
                <a:ea typeface="+mn-ea"/>
                <a:cs typeface="HRSD Title" panose="02000906030000020004" pitchFamily="2" charset="-78"/>
              </a:rPr>
              <a:t>الأنشطة المخطط استكمالها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RSD Title" panose="02000906030000020004" pitchFamily="2" charset="-78"/>
              <a:ea typeface="+mn-ea"/>
              <a:cs typeface="HRSD Title" panose="02000906030000020004" pitchFamily="2" charset="-78"/>
            </a:endParaRPr>
          </a:p>
          <a:p>
            <a:pPr algn="ctr" defTabSz="822912" rtl="1">
              <a:defRPr/>
            </a:pPr>
            <a:r>
              <a:rPr kumimoji="0" lang="ar-SA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RSD Title" panose="02000906030000020004" pitchFamily="2" charset="-78"/>
                <a:ea typeface="+mn-ea"/>
                <a:cs typeface="HRSD Title" panose="02000906030000020004" pitchFamily="2" charset="-78"/>
              </a:rPr>
              <a:t>(13 نوفمبر 2022– 17 نوفمبر 2022)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CB36BB97-3F54-437F-9A7C-66D9F7EC9DAB}"/>
              </a:ext>
            </a:extLst>
          </p:cNvPr>
          <p:cNvSpPr/>
          <p:nvPr/>
        </p:nvSpPr>
        <p:spPr>
          <a:xfrm flipH="1">
            <a:off x="8897358" y="1884596"/>
            <a:ext cx="2690205" cy="19706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54306" marR="0" lvl="0" indent="-154306" algn="r" defTabSz="822912" rtl="1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ar-SA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rPr>
              <a:t>جمع وتقديم تقرير التحليل التصاعدي بناءً على نتائج جلسات تقييم عبء العمل التي تم إجراؤها</a:t>
            </a:r>
          </a:p>
          <a:p>
            <a:pPr marL="154306" marR="0" lvl="0" indent="-154306" algn="r" defTabSz="822912" rtl="1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ar-SA" sz="1100" dirty="0">
                <a:solidFill>
                  <a:prstClr val="black"/>
                </a:solidFill>
                <a:latin typeface="HRSD" panose="02000906030000020004" pitchFamily="2" charset="-78"/>
                <a:cs typeface="HRSD" panose="02000906030000020004" pitchFamily="2" charset="-78"/>
              </a:rPr>
              <a:t>م</a:t>
            </a:r>
            <a:r>
              <a:rPr kumimoji="0" lang="ar-SA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rPr>
              <a:t>راجعة وزارة الموارد البشرية تقرير التحليل التصاعدي ومشاركتهم  الملاحظات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0E969011-620F-45A3-B668-3CE88A71E751}"/>
              </a:ext>
            </a:extLst>
          </p:cNvPr>
          <p:cNvSpPr/>
          <p:nvPr/>
        </p:nvSpPr>
        <p:spPr>
          <a:xfrm flipH="1">
            <a:off x="3635513" y="1316939"/>
            <a:ext cx="8001926" cy="362082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22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RSD" panose="02000906030000020004" pitchFamily="2" charset="-78"/>
              <a:ea typeface="+mn-ea"/>
              <a:cs typeface="HRSD" panose="02000906030000020004" pitchFamily="2" charset="-78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07B2C8DC-8785-4959-9435-B820EA6F8ACF}"/>
              </a:ext>
            </a:extLst>
          </p:cNvPr>
          <p:cNvSpPr/>
          <p:nvPr/>
        </p:nvSpPr>
        <p:spPr>
          <a:xfrm flipH="1">
            <a:off x="514082" y="1316957"/>
            <a:ext cx="3070700" cy="3642132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22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RSD" panose="02000906030000020004" pitchFamily="2" charset="-78"/>
              <a:ea typeface="+mn-ea"/>
              <a:cs typeface="HRSD" panose="02000906030000020004" pitchFamily="2" charset="-78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59370022-F148-43E1-BFDE-DBD01262C70F}"/>
              </a:ext>
            </a:extLst>
          </p:cNvPr>
          <p:cNvSpPr/>
          <p:nvPr/>
        </p:nvSpPr>
        <p:spPr>
          <a:xfrm flipH="1">
            <a:off x="1178620" y="1354131"/>
            <a:ext cx="1741624" cy="1590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22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16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rPr>
              <a:t>أبزر المخرجات</a:t>
            </a:r>
            <a:endParaRPr kumimoji="0" lang="en-US" sz="1600" b="1" i="0" u="sng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RSD" panose="02000906030000020004" pitchFamily="2" charset="-78"/>
              <a:ea typeface="+mn-ea"/>
              <a:cs typeface="HRSD" panose="02000906030000020004" pitchFamily="2" charset="-78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160017AE-319D-4EE3-A045-9C1F44AA099D}"/>
              </a:ext>
            </a:extLst>
          </p:cNvPr>
          <p:cNvSpPr>
            <a:spLocks/>
          </p:cNvSpPr>
          <p:nvPr/>
        </p:nvSpPr>
        <p:spPr>
          <a:xfrm flipH="1">
            <a:off x="548143" y="1793048"/>
            <a:ext cx="2721154" cy="1462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82291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RSD Title" panose="02000906030000020004" pitchFamily="2" charset="-78"/>
                <a:ea typeface="+mn-ea"/>
                <a:cs typeface="HRSD Title" panose="02000906030000020004" pitchFamily="2" charset="-78"/>
              </a:rPr>
              <a:t>XX</a:t>
            </a: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4AB2DE21-09BA-4139-95AC-50B5599575B0}"/>
              </a:ext>
            </a:extLst>
          </p:cNvPr>
          <p:cNvSpPr>
            <a:spLocks/>
          </p:cNvSpPr>
          <p:nvPr/>
        </p:nvSpPr>
        <p:spPr>
          <a:xfrm flipH="1">
            <a:off x="3303358" y="1759501"/>
            <a:ext cx="227893" cy="213297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822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rPr>
              <a:t>1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8B8DA7E1-043B-4ED6-BD7E-05B2F9B30248}"/>
              </a:ext>
            </a:extLst>
          </p:cNvPr>
          <p:cNvSpPr>
            <a:spLocks/>
          </p:cNvSpPr>
          <p:nvPr/>
        </p:nvSpPr>
        <p:spPr>
          <a:xfrm flipH="1">
            <a:off x="548143" y="2111552"/>
            <a:ext cx="2721154" cy="1462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82291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RSD Title" panose="02000906030000020004" pitchFamily="2" charset="-78"/>
                <a:ea typeface="+mn-ea"/>
                <a:cs typeface="HRSD Title" panose="02000906030000020004" pitchFamily="2" charset="-78"/>
              </a:rPr>
              <a:t>XX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1DFFDB9F-2962-4033-85D7-C281BA2D0FBA}"/>
              </a:ext>
            </a:extLst>
          </p:cNvPr>
          <p:cNvSpPr>
            <a:spLocks/>
          </p:cNvSpPr>
          <p:nvPr/>
        </p:nvSpPr>
        <p:spPr>
          <a:xfrm flipH="1">
            <a:off x="548143" y="2444965"/>
            <a:ext cx="2721154" cy="1462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82291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RSD Title" panose="02000906030000020004" pitchFamily="2" charset="-78"/>
                <a:ea typeface="+mn-ea"/>
                <a:cs typeface="HRSD Title" panose="02000906030000020004" pitchFamily="2" charset="-78"/>
              </a:rPr>
              <a:t>XX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A88F28E8-A935-47D4-AEBF-3FA59EC8AA66}"/>
              </a:ext>
            </a:extLst>
          </p:cNvPr>
          <p:cNvSpPr>
            <a:spLocks/>
          </p:cNvSpPr>
          <p:nvPr/>
        </p:nvSpPr>
        <p:spPr>
          <a:xfrm flipH="1">
            <a:off x="548143" y="2835092"/>
            <a:ext cx="2721154" cy="1462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1" indent="0" algn="r" defTabSz="724065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85"/>
              </a:spcAft>
              <a:buClr>
                <a:srgbClr val="000000">
                  <a:lumMod val="85000"/>
                  <a:lumOff val="15000"/>
                </a:srgbClr>
              </a:buClr>
              <a:buSzPct val="8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RSD Title" panose="02000906030000020004" pitchFamily="2" charset="-78"/>
                <a:ea typeface="+mn-ea"/>
                <a:cs typeface="HRSD Title" panose="02000906030000020004" pitchFamily="2" charset="-78"/>
              </a:rPr>
              <a:t>XX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C2A2A7E6-6D05-4039-B3F1-74F8800FC943}"/>
              </a:ext>
            </a:extLst>
          </p:cNvPr>
          <p:cNvSpPr>
            <a:spLocks/>
          </p:cNvSpPr>
          <p:nvPr/>
        </p:nvSpPr>
        <p:spPr>
          <a:xfrm flipH="1">
            <a:off x="548143" y="3253769"/>
            <a:ext cx="2721154" cy="1462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82291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RSD Title" panose="02000906030000020004" pitchFamily="2" charset="-78"/>
                <a:ea typeface="+mn-ea"/>
                <a:cs typeface="HRSD Title" panose="02000906030000020004" pitchFamily="2" charset="-78"/>
              </a:rPr>
              <a:t>XX</a:t>
            </a:r>
            <a:endParaRPr kumimoji="0" lang="ar-SA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RSD Title" panose="02000906030000020004" pitchFamily="2" charset="-78"/>
              <a:ea typeface="+mn-ea"/>
              <a:cs typeface="HRSD Title" panose="02000906030000020004" pitchFamily="2" charset="-78"/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5D402FE7-DEF5-486F-8AD8-FE4AAFC1481A}"/>
              </a:ext>
            </a:extLst>
          </p:cNvPr>
          <p:cNvSpPr/>
          <p:nvPr/>
        </p:nvSpPr>
        <p:spPr>
          <a:xfrm flipH="1">
            <a:off x="6279849" y="1911403"/>
            <a:ext cx="2615937" cy="30283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t"/>
          <a:lstStyle/>
          <a:p>
            <a:pPr marL="154306" marR="0" lvl="0" indent="-154306" algn="r" defTabSz="822912" rtl="1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ar-SA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rPr>
              <a:t>دمج الملاحظات في تقرير التحليل التصاعدي ووضع اللمسات الأخيرة على التقرير</a:t>
            </a:r>
          </a:p>
          <a:p>
            <a:pPr marL="154306" marR="0" lvl="0" indent="-154306" algn="r" defTabSz="822912" rtl="1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ar-SA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rPr>
              <a:t>اعتماد تقرير التحليل التصاعدي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RSD" panose="02000906030000020004" pitchFamily="2" charset="-78"/>
              <a:ea typeface="+mn-ea"/>
              <a:cs typeface="HRSD" panose="02000906030000020004" pitchFamily="2" charset="-78"/>
            </a:endParaRP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AFF8E584-B50A-40BD-B64E-EA034C90BB08}"/>
              </a:ext>
            </a:extLst>
          </p:cNvPr>
          <p:cNvSpPr>
            <a:spLocks/>
          </p:cNvSpPr>
          <p:nvPr/>
        </p:nvSpPr>
        <p:spPr>
          <a:xfrm flipH="1">
            <a:off x="3303358" y="2078005"/>
            <a:ext cx="227893" cy="213297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822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rPr>
              <a:t>2</a:t>
            </a: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BC9113A8-E7AE-4D1D-8355-8C9424E93CD1}"/>
              </a:ext>
            </a:extLst>
          </p:cNvPr>
          <p:cNvSpPr>
            <a:spLocks/>
          </p:cNvSpPr>
          <p:nvPr/>
        </p:nvSpPr>
        <p:spPr>
          <a:xfrm flipH="1">
            <a:off x="3303358" y="2411418"/>
            <a:ext cx="227893" cy="213297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822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rPr>
              <a:t>3</a:t>
            </a: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9C7B5AC3-8AA4-4554-979C-5B68DFFEA1C5}"/>
              </a:ext>
            </a:extLst>
          </p:cNvPr>
          <p:cNvSpPr>
            <a:spLocks/>
          </p:cNvSpPr>
          <p:nvPr/>
        </p:nvSpPr>
        <p:spPr>
          <a:xfrm flipH="1">
            <a:off x="3303358" y="2801545"/>
            <a:ext cx="227893" cy="213297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822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rPr>
              <a:t>4</a:t>
            </a: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41958995-A27E-469F-997A-DA843670A93D}"/>
              </a:ext>
            </a:extLst>
          </p:cNvPr>
          <p:cNvSpPr>
            <a:spLocks/>
          </p:cNvSpPr>
          <p:nvPr/>
        </p:nvSpPr>
        <p:spPr>
          <a:xfrm flipH="1">
            <a:off x="3303358" y="3208305"/>
            <a:ext cx="227893" cy="213297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822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rPr>
              <a:t>5</a:t>
            </a:r>
          </a:p>
        </p:txBody>
      </p:sp>
      <p:sp>
        <p:nvSpPr>
          <p:cNvPr id="79" name="Title 1">
            <a:extLst>
              <a:ext uri="{FF2B5EF4-FFF2-40B4-BE49-F238E27FC236}">
                <a16:creationId xmlns:a16="http://schemas.microsoft.com/office/drawing/2014/main" id="{5BC1404C-3757-4666-BBBB-F2CB1FA105E0}"/>
              </a:ext>
            </a:extLst>
          </p:cNvPr>
          <p:cNvSpPr txBox="1">
            <a:spLocks/>
          </p:cNvSpPr>
          <p:nvPr/>
        </p:nvSpPr>
        <p:spPr>
          <a:xfrm>
            <a:off x="358087" y="280092"/>
            <a:ext cx="10515600" cy="56938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 defTabSz="914400" rtl="1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>
                <a:solidFill>
                  <a:schemeClr val="accent1"/>
                </a:solidFill>
                <a:latin typeface="29LT Bukra" panose="020B0504040000000004" pitchFamily="34" charset="-78"/>
                <a:ea typeface="+mj-ea"/>
                <a:cs typeface="29LT Bukra" panose="020B0504040000000004" pitchFamily="34" charset="-78"/>
              </a:defRPr>
            </a:lvl1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2800" b="0" i="0" u="none" strike="noStrike" kern="1200" cap="none" spc="0" normalizeH="0" baseline="0" noProof="0" dirty="0">
                <a:ln>
                  <a:noFill/>
                </a:ln>
                <a:solidFill>
                  <a:srgbClr val="158285"/>
                </a:solidFill>
                <a:effectLst/>
                <a:uLnTx/>
                <a:uFillTx/>
                <a:latin typeface="HRSD Title" panose="02000906030000020004" pitchFamily="2" charset="-78"/>
                <a:ea typeface="+mj-ea"/>
                <a:cs typeface="HRSD Title" panose="02000906030000020004" pitchFamily="2" charset="-78"/>
              </a:rPr>
              <a:t>تعليمات استخدام شريحة النظرة العامة عن حالة تقدم المشروع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158285"/>
              </a:solidFill>
              <a:effectLst/>
              <a:uLnTx/>
              <a:uFillTx/>
              <a:latin typeface="HRSD Title" panose="02000906030000020004" pitchFamily="2" charset="-78"/>
              <a:ea typeface="+mj-ea"/>
              <a:cs typeface="HRSD Title" panose="02000906030000020004" pitchFamily="2" charset="-78"/>
            </a:endParaRP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AC243686-1AC6-4196-BE8B-8C41F602AC96}"/>
              </a:ext>
            </a:extLst>
          </p:cNvPr>
          <p:cNvSpPr>
            <a:spLocks/>
          </p:cNvSpPr>
          <p:nvPr/>
        </p:nvSpPr>
        <p:spPr>
          <a:xfrm flipH="1">
            <a:off x="3317447" y="4699723"/>
            <a:ext cx="127015" cy="13499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933" tIns="36467" rIns="72933" bIns="36467" rtlCol="0" anchor="ctr"/>
          <a:lstStyle/>
          <a:p>
            <a:pPr marL="0" marR="0" lvl="0" indent="0" algn="ctr" defTabSz="822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RSD" panose="02000906030000020004" pitchFamily="2" charset="-78"/>
              <a:ea typeface="+mn-ea"/>
              <a:cs typeface="HRSD" panose="02000906030000020004" pitchFamily="2" charset="-78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E1AC3C26-7275-4DE3-AE67-587C1F93B82A}"/>
              </a:ext>
            </a:extLst>
          </p:cNvPr>
          <p:cNvSpPr>
            <a:spLocks/>
          </p:cNvSpPr>
          <p:nvPr/>
        </p:nvSpPr>
        <p:spPr>
          <a:xfrm flipH="1">
            <a:off x="1499612" y="4519263"/>
            <a:ext cx="1814544" cy="860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932" tIns="36467" rIns="72932" bIns="36467" rtlCol="0" anchor="ctr"/>
          <a:lstStyle/>
          <a:p>
            <a:pPr marL="0" marR="0" lvl="0" indent="0" algn="r" defTabSz="822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105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rPr>
              <a:t>لم يبدأ العمل</a:t>
            </a: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RSD" panose="02000906030000020004" pitchFamily="2" charset="-78"/>
              <a:ea typeface="+mn-ea"/>
              <a:cs typeface="HRSD" panose="02000906030000020004" pitchFamily="2" charset="-78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AF5D632E-F300-4202-9DD9-9BECACC087DC}"/>
              </a:ext>
            </a:extLst>
          </p:cNvPr>
          <p:cNvSpPr>
            <a:spLocks/>
          </p:cNvSpPr>
          <p:nvPr/>
        </p:nvSpPr>
        <p:spPr>
          <a:xfrm flipH="1">
            <a:off x="1488814" y="4716447"/>
            <a:ext cx="1814544" cy="860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932" tIns="36467" rIns="72932" bIns="36467" rtlCol="0" anchor="ctr"/>
          <a:lstStyle/>
          <a:p>
            <a:pPr marL="0" marR="0" lvl="0" indent="0" algn="r" defTabSz="82291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105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rPr>
              <a:t>تحت التنفيذ</a:t>
            </a: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RSD" panose="02000906030000020004" pitchFamily="2" charset="-78"/>
              <a:ea typeface="+mn-ea"/>
              <a:cs typeface="HRSD" panose="02000906030000020004" pitchFamily="2" charset="-78"/>
            </a:endParaRPr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id="{BBCA6212-4D18-43C0-AABF-E3FD6B920074}"/>
              </a:ext>
            </a:extLst>
          </p:cNvPr>
          <p:cNvSpPr>
            <a:spLocks/>
          </p:cNvSpPr>
          <p:nvPr/>
        </p:nvSpPr>
        <p:spPr>
          <a:xfrm flipH="1">
            <a:off x="3317447" y="4474507"/>
            <a:ext cx="127015" cy="13499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933" tIns="36467" rIns="72933" bIns="36467" rtlCol="0" anchor="ctr"/>
          <a:lstStyle/>
          <a:p>
            <a:pPr marL="0" marR="0" lvl="0" indent="0" algn="ctr" defTabSz="822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RSD" panose="02000906030000020004" pitchFamily="2" charset="-78"/>
              <a:ea typeface="+mn-ea"/>
              <a:cs typeface="HRSD" panose="02000906030000020004" pitchFamily="2" charset="-78"/>
            </a:endParaRPr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AB4A757B-9884-4299-B002-0242A1FA1FFD}"/>
              </a:ext>
            </a:extLst>
          </p:cNvPr>
          <p:cNvSpPr>
            <a:spLocks/>
          </p:cNvSpPr>
          <p:nvPr/>
        </p:nvSpPr>
        <p:spPr>
          <a:xfrm flipH="1">
            <a:off x="2208309" y="4691256"/>
            <a:ext cx="127015" cy="13499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933" tIns="36467" rIns="72933" bIns="36467" rtlCol="0" anchor="ctr"/>
          <a:lstStyle/>
          <a:p>
            <a:pPr marL="0" marR="0" lvl="0" indent="0" algn="ctr" defTabSz="822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RSD" panose="02000906030000020004" pitchFamily="2" charset="-78"/>
              <a:ea typeface="+mn-ea"/>
              <a:cs typeface="HRSD" panose="02000906030000020004" pitchFamily="2" charset="-78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C1D18E50-BCAC-41D0-A103-2FD231445172}"/>
              </a:ext>
            </a:extLst>
          </p:cNvPr>
          <p:cNvSpPr>
            <a:spLocks/>
          </p:cNvSpPr>
          <p:nvPr/>
        </p:nvSpPr>
        <p:spPr>
          <a:xfrm flipH="1">
            <a:off x="390474" y="4485395"/>
            <a:ext cx="1814544" cy="860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932" tIns="36467" rIns="72932" bIns="36467" rtlCol="0" anchor="ctr"/>
          <a:lstStyle/>
          <a:p>
            <a:pPr marL="0" marR="0" lvl="0" indent="0" algn="r" defTabSz="822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105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rPr>
              <a:t>مكتمل </a:t>
            </a: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RSD" panose="02000906030000020004" pitchFamily="2" charset="-78"/>
              <a:ea typeface="+mn-ea"/>
              <a:cs typeface="HRSD" panose="02000906030000020004" pitchFamily="2" charset="-78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14D46331-08C7-475C-8A34-CF64C92ACEF9}"/>
              </a:ext>
            </a:extLst>
          </p:cNvPr>
          <p:cNvSpPr>
            <a:spLocks/>
          </p:cNvSpPr>
          <p:nvPr/>
        </p:nvSpPr>
        <p:spPr>
          <a:xfrm flipH="1">
            <a:off x="379676" y="4707980"/>
            <a:ext cx="1814544" cy="860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932" tIns="36467" rIns="72932" bIns="36467" rtlCol="0" anchor="ctr"/>
          <a:lstStyle/>
          <a:p>
            <a:pPr marL="0" marR="0" lvl="0" indent="0" algn="r" defTabSz="822912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105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RSD" panose="02000906030000020004" pitchFamily="2" charset="-78"/>
                <a:ea typeface="+mn-ea"/>
                <a:cs typeface="HRSD" panose="02000906030000020004" pitchFamily="2" charset="-78"/>
              </a:rPr>
              <a:t>متأخر </a:t>
            </a:r>
            <a:endParaRPr kumimoji="0" lang="en-US" sz="105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RSD" panose="02000906030000020004" pitchFamily="2" charset="-78"/>
              <a:ea typeface="+mn-ea"/>
              <a:cs typeface="HRSD" panose="02000906030000020004" pitchFamily="2" charset="-78"/>
            </a:endParaRP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05FC8F41-A8A8-43AA-A753-7F79CDFD7704}"/>
              </a:ext>
            </a:extLst>
          </p:cNvPr>
          <p:cNvSpPr>
            <a:spLocks/>
          </p:cNvSpPr>
          <p:nvPr/>
        </p:nvSpPr>
        <p:spPr>
          <a:xfrm flipH="1">
            <a:off x="2208309" y="4466040"/>
            <a:ext cx="127015" cy="13499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933" tIns="36467" rIns="72933" bIns="36467" rtlCol="0" anchor="ctr"/>
          <a:lstStyle/>
          <a:p>
            <a:pPr marL="0" marR="0" lvl="0" indent="0" algn="ctr" defTabSz="822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RSD" panose="02000906030000020004" pitchFamily="2" charset="-78"/>
              <a:ea typeface="+mn-ea"/>
              <a:cs typeface="HRSD" panose="02000906030000020004" pitchFamily="2" charset="-78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6290963-9A68-4847-A476-F151C3769FF0}"/>
              </a:ext>
            </a:extLst>
          </p:cNvPr>
          <p:cNvSpPr/>
          <p:nvPr/>
        </p:nvSpPr>
        <p:spPr>
          <a:xfrm>
            <a:off x="514082" y="1002980"/>
            <a:ext cx="11120818" cy="311271"/>
          </a:xfrm>
          <a:prstGeom prst="rect">
            <a:avLst/>
          </a:prstGeom>
          <a:noFill/>
          <a:ln w="28575">
            <a:solidFill>
              <a:schemeClr val="accent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endParaRPr lang="en-US"/>
          </a:p>
        </p:txBody>
      </p:sp>
      <p:sp>
        <p:nvSpPr>
          <p:cNvPr id="102" name="Speech Bubble: Rectangle with Corners Rounded 101">
            <a:extLst>
              <a:ext uri="{FF2B5EF4-FFF2-40B4-BE49-F238E27FC236}">
                <a16:creationId xmlns:a16="http://schemas.microsoft.com/office/drawing/2014/main" id="{348CF403-1E44-49ED-858C-BCC39C1843F2}"/>
              </a:ext>
            </a:extLst>
          </p:cNvPr>
          <p:cNvSpPr/>
          <p:nvPr/>
        </p:nvSpPr>
        <p:spPr>
          <a:xfrm>
            <a:off x="871302" y="715087"/>
            <a:ext cx="1464022" cy="345330"/>
          </a:xfrm>
          <a:prstGeom prst="wedgeRoundRectCallout">
            <a:avLst>
              <a:gd name="adj1" fmla="val -10002"/>
              <a:gd name="adj2" fmla="val 79479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75000"/>
              </a:lnSpc>
            </a:pPr>
            <a:r>
              <a:rPr lang="ar-SA" sz="1200" dirty="0">
                <a:solidFill>
                  <a:schemeClr val="bg1"/>
                </a:solidFill>
                <a:latin typeface="HRSD" panose="02000906030000020004" pitchFamily="2" charset="-78"/>
                <a:cs typeface="HRSD" panose="02000906030000020004" pitchFamily="2" charset="-78"/>
              </a:rPr>
              <a:t>تلوين الأسابيع التي مضت من مدة المشروع</a:t>
            </a:r>
            <a:endParaRPr lang="en-US" sz="1200" dirty="0">
              <a:solidFill>
                <a:schemeClr val="bg1"/>
              </a:solidFill>
              <a:latin typeface="HRSD" panose="02000906030000020004" pitchFamily="2" charset="-78"/>
              <a:cs typeface="HRSD" panose="02000906030000020004" pitchFamily="2" charset="-78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E43A64BA-4761-4A0D-9D79-3ACC2F0BBC99}"/>
              </a:ext>
            </a:extLst>
          </p:cNvPr>
          <p:cNvSpPr/>
          <p:nvPr/>
        </p:nvSpPr>
        <p:spPr>
          <a:xfrm>
            <a:off x="9294828" y="1576210"/>
            <a:ext cx="1983107" cy="197984"/>
          </a:xfrm>
          <a:prstGeom prst="rect">
            <a:avLst/>
          </a:prstGeom>
          <a:noFill/>
          <a:ln w="28575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endParaRPr lang="en-US"/>
          </a:p>
        </p:txBody>
      </p:sp>
      <p:sp>
        <p:nvSpPr>
          <p:cNvPr id="105" name="Speech Bubble: Rectangle with Corners Rounded 104">
            <a:extLst>
              <a:ext uri="{FF2B5EF4-FFF2-40B4-BE49-F238E27FC236}">
                <a16:creationId xmlns:a16="http://schemas.microsoft.com/office/drawing/2014/main" id="{2462E5EC-45A8-4790-B1C3-CD2397328244}"/>
              </a:ext>
            </a:extLst>
          </p:cNvPr>
          <p:cNvSpPr/>
          <p:nvPr/>
        </p:nvSpPr>
        <p:spPr>
          <a:xfrm>
            <a:off x="7946796" y="1172425"/>
            <a:ext cx="1593189" cy="345330"/>
          </a:xfrm>
          <a:prstGeom prst="wedgeRoundRectCallout">
            <a:avLst>
              <a:gd name="adj1" fmla="val -37173"/>
              <a:gd name="adj2" fmla="val 76749"/>
              <a:gd name="adj3" fmla="val 16667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75000"/>
              </a:lnSpc>
            </a:pPr>
            <a:r>
              <a:rPr lang="ar-SA" sz="1200" dirty="0">
                <a:solidFill>
                  <a:schemeClr val="bg1"/>
                </a:solidFill>
                <a:latin typeface="HRSD" panose="02000906030000020004" pitchFamily="2" charset="-78"/>
                <a:cs typeface="HRSD" panose="02000906030000020004" pitchFamily="2" charset="-78"/>
              </a:rPr>
              <a:t>وضع تاريخ البدء وتاريخ الانتهاء للأسبوع المستهدف</a:t>
            </a:r>
            <a:endParaRPr lang="en-US" sz="1200" dirty="0">
              <a:solidFill>
                <a:schemeClr val="bg1"/>
              </a:solidFill>
              <a:latin typeface="HRSD" panose="02000906030000020004" pitchFamily="2" charset="-78"/>
              <a:cs typeface="HRSD" panose="02000906030000020004" pitchFamily="2" charset="-78"/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B6CDF1A3-6677-401D-8B57-EB16EFC07F8D}"/>
              </a:ext>
            </a:extLst>
          </p:cNvPr>
          <p:cNvSpPr/>
          <p:nvPr/>
        </p:nvSpPr>
        <p:spPr>
          <a:xfrm>
            <a:off x="6596263" y="1586492"/>
            <a:ext cx="1983107" cy="197984"/>
          </a:xfrm>
          <a:prstGeom prst="rect">
            <a:avLst/>
          </a:prstGeom>
          <a:noFill/>
          <a:ln w="28575"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endParaRPr lang="en-US"/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322F7A41-9821-4E45-9E2C-D7808CC7B8FA}"/>
              </a:ext>
            </a:extLst>
          </p:cNvPr>
          <p:cNvSpPr/>
          <p:nvPr/>
        </p:nvSpPr>
        <p:spPr>
          <a:xfrm>
            <a:off x="8964258" y="1832410"/>
            <a:ext cx="2575864" cy="3044153"/>
          </a:xfrm>
          <a:prstGeom prst="rect">
            <a:avLst/>
          </a:prstGeom>
          <a:noFill/>
          <a:ln w="28575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endParaRPr lang="en-US"/>
          </a:p>
        </p:txBody>
      </p:sp>
      <p:sp>
        <p:nvSpPr>
          <p:cNvPr id="109" name="Speech Bubble: Rectangle with Corners Rounded 108">
            <a:extLst>
              <a:ext uri="{FF2B5EF4-FFF2-40B4-BE49-F238E27FC236}">
                <a16:creationId xmlns:a16="http://schemas.microsoft.com/office/drawing/2014/main" id="{447BEB12-C64F-4D45-8279-41D222D92769}"/>
              </a:ext>
            </a:extLst>
          </p:cNvPr>
          <p:cNvSpPr/>
          <p:nvPr/>
        </p:nvSpPr>
        <p:spPr>
          <a:xfrm>
            <a:off x="10481340" y="1171639"/>
            <a:ext cx="1593189" cy="345330"/>
          </a:xfrm>
          <a:prstGeom prst="wedgeRoundRectCallout">
            <a:avLst>
              <a:gd name="adj1" fmla="val -37173"/>
              <a:gd name="adj2" fmla="val 76749"/>
              <a:gd name="adj3" fmla="val 16667"/>
            </a:avLst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75000"/>
              </a:lnSpc>
            </a:pPr>
            <a:r>
              <a:rPr lang="ar-SA" sz="1200" dirty="0">
                <a:solidFill>
                  <a:schemeClr val="bg1"/>
                </a:solidFill>
                <a:latin typeface="HRSD" panose="02000906030000020004" pitchFamily="2" charset="-78"/>
                <a:cs typeface="HRSD" panose="02000906030000020004" pitchFamily="2" charset="-78"/>
              </a:rPr>
              <a:t>وضع تاريخ البدء وتاريخ الانتهاء للأسبوع المستهدف</a:t>
            </a:r>
            <a:endParaRPr lang="en-US" sz="1200" dirty="0">
              <a:solidFill>
                <a:schemeClr val="bg1"/>
              </a:solidFill>
              <a:latin typeface="HRSD" panose="02000906030000020004" pitchFamily="2" charset="-78"/>
              <a:cs typeface="HRSD" panose="02000906030000020004" pitchFamily="2" charset="-78"/>
            </a:endParaRPr>
          </a:p>
        </p:txBody>
      </p:sp>
      <p:sp>
        <p:nvSpPr>
          <p:cNvPr id="110" name="Speech Bubble: Rectangle with Corners Rounded 109">
            <a:extLst>
              <a:ext uri="{FF2B5EF4-FFF2-40B4-BE49-F238E27FC236}">
                <a16:creationId xmlns:a16="http://schemas.microsoft.com/office/drawing/2014/main" id="{7B355646-0906-424A-A260-92A65C77DC12}"/>
              </a:ext>
            </a:extLst>
          </p:cNvPr>
          <p:cNvSpPr/>
          <p:nvPr/>
        </p:nvSpPr>
        <p:spPr>
          <a:xfrm>
            <a:off x="11406433" y="2679317"/>
            <a:ext cx="785567" cy="613932"/>
          </a:xfrm>
          <a:prstGeom prst="wedgeRoundRectCallout">
            <a:avLst>
              <a:gd name="adj1" fmla="val -37173"/>
              <a:gd name="adj2" fmla="val 76749"/>
              <a:gd name="adj3" fmla="val 16667"/>
            </a:avLst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75000"/>
              </a:lnSpc>
            </a:pPr>
            <a:r>
              <a:rPr lang="ar-SA" sz="1200" dirty="0">
                <a:solidFill>
                  <a:schemeClr val="bg1"/>
                </a:solidFill>
                <a:latin typeface="HRSD" panose="02000906030000020004" pitchFamily="2" charset="-78"/>
                <a:cs typeface="HRSD" panose="02000906030000020004" pitchFamily="2" charset="-78"/>
              </a:rPr>
              <a:t>ذكر الأنشطة المكتملة</a:t>
            </a:r>
            <a:endParaRPr lang="en-US" sz="1200" dirty="0">
              <a:solidFill>
                <a:schemeClr val="bg1"/>
              </a:solidFill>
              <a:latin typeface="HRSD" panose="02000906030000020004" pitchFamily="2" charset="-78"/>
              <a:cs typeface="HRSD" panose="02000906030000020004" pitchFamily="2" charset="-78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FCED25C6-1A4A-41E5-947C-5B9BEFCCB7E5}"/>
              </a:ext>
            </a:extLst>
          </p:cNvPr>
          <p:cNvSpPr/>
          <p:nvPr/>
        </p:nvSpPr>
        <p:spPr>
          <a:xfrm>
            <a:off x="6269297" y="1833937"/>
            <a:ext cx="2575864" cy="3044153"/>
          </a:xfrm>
          <a:prstGeom prst="rect">
            <a:avLst/>
          </a:prstGeom>
          <a:noFill/>
          <a:ln w="28575"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endParaRPr lang="en-US"/>
          </a:p>
        </p:txBody>
      </p:sp>
      <p:sp>
        <p:nvSpPr>
          <p:cNvPr id="112" name="Speech Bubble: Rectangle with Corners Rounded 111">
            <a:extLst>
              <a:ext uri="{FF2B5EF4-FFF2-40B4-BE49-F238E27FC236}">
                <a16:creationId xmlns:a16="http://schemas.microsoft.com/office/drawing/2014/main" id="{3DDFF78E-2194-47A6-8A35-597E3427CB19}"/>
              </a:ext>
            </a:extLst>
          </p:cNvPr>
          <p:cNvSpPr/>
          <p:nvPr/>
        </p:nvSpPr>
        <p:spPr>
          <a:xfrm>
            <a:off x="8711472" y="2680844"/>
            <a:ext cx="785567" cy="613932"/>
          </a:xfrm>
          <a:prstGeom prst="wedgeRoundRectCallout">
            <a:avLst>
              <a:gd name="adj1" fmla="val -37173"/>
              <a:gd name="adj2" fmla="val 76749"/>
              <a:gd name="adj3" fmla="val 16667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75000"/>
              </a:lnSpc>
            </a:pPr>
            <a:r>
              <a:rPr lang="ar-SA" sz="1200" dirty="0">
                <a:solidFill>
                  <a:schemeClr val="bg1"/>
                </a:solidFill>
                <a:latin typeface="HRSD" panose="02000906030000020004" pitchFamily="2" charset="-78"/>
                <a:cs typeface="HRSD" panose="02000906030000020004" pitchFamily="2" charset="-78"/>
              </a:rPr>
              <a:t>ذكر الأنشطة المخطط استكمالها</a:t>
            </a:r>
            <a:endParaRPr lang="en-US" sz="1200" dirty="0">
              <a:solidFill>
                <a:schemeClr val="bg1"/>
              </a:solidFill>
              <a:latin typeface="HRSD" panose="02000906030000020004" pitchFamily="2" charset="-78"/>
              <a:cs typeface="HRSD" panose="02000906030000020004" pitchFamily="2" charset="-78"/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D00E2F87-5CDE-41E8-B6ED-185CDF10C323}"/>
              </a:ext>
            </a:extLst>
          </p:cNvPr>
          <p:cNvSpPr/>
          <p:nvPr/>
        </p:nvSpPr>
        <p:spPr>
          <a:xfrm>
            <a:off x="3639458" y="1847865"/>
            <a:ext cx="2575864" cy="2723537"/>
          </a:xfrm>
          <a:prstGeom prst="rect">
            <a:avLst/>
          </a:prstGeom>
          <a:noFill/>
          <a:ln w="2857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endParaRPr lang="en-US"/>
          </a:p>
        </p:txBody>
      </p:sp>
      <p:sp>
        <p:nvSpPr>
          <p:cNvPr id="114" name="Speech Bubble: Rectangle with Corners Rounded 113">
            <a:extLst>
              <a:ext uri="{FF2B5EF4-FFF2-40B4-BE49-F238E27FC236}">
                <a16:creationId xmlns:a16="http://schemas.microsoft.com/office/drawing/2014/main" id="{BCD8037F-A934-43FE-B5E9-EB98D582EAC1}"/>
              </a:ext>
            </a:extLst>
          </p:cNvPr>
          <p:cNvSpPr/>
          <p:nvPr/>
        </p:nvSpPr>
        <p:spPr>
          <a:xfrm>
            <a:off x="3656716" y="4635312"/>
            <a:ext cx="2594008" cy="441437"/>
          </a:xfrm>
          <a:prstGeom prst="wedgeRoundRectCallout">
            <a:avLst>
              <a:gd name="adj1" fmla="val -28606"/>
              <a:gd name="adj2" fmla="val -62554"/>
              <a:gd name="adj3" fmla="val 16667"/>
            </a:avLst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75000"/>
              </a:lnSpc>
            </a:pPr>
            <a:r>
              <a:rPr lang="ar-SA" sz="1200" dirty="0">
                <a:solidFill>
                  <a:schemeClr val="bg1"/>
                </a:solidFill>
                <a:latin typeface="HRSD" panose="02000906030000020004" pitchFamily="2" charset="-78"/>
                <a:cs typeface="HRSD" panose="02000906030000020004" pitchFamily="2" charset="-78"/>
              </a:rPr>
              <a:t>كتابة النسبة المنجزة من المشروع وسحب الدائرة البرتقالية إلى اليمين التي تظهر عند تحديد المربع الداخلي إلى نسبة الإنجاز المكتوبة </a:t>
            </a:r>
            <a:endParaRPr lang="en-US" sz="1200" dirty="0">
              <a:solidFill>
                <a:schemeClr val="bg1"/>
              </a:solidFill>
              <a:latin typeface="HRSD" panose="02000906030000020004" pitchFamily="2" charset="-78"/>
              <a:cs typeface="HRSD" panose="02000906030000020004" pitchFamily="2" charset="-78"/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9A67D1EC-1A7B-4F5A-B7AC-C65B905713FE}"/>
              </a:ext>
            </a:extLst>
          </p:cNvPr>
          <p:cNvSpPr/>
          <p:nvPr/>
        </p:nvSpPr>
        <p:spPr>
          <a:xfrm>
            <a:off x="537488" y="1609741"/>
            <a:ext cx="3021262" cy="3328021"/>
          </a:xfrm>
          <a:prstGeom prst="rect">
            <a:avLst/>
          </a:prstGeom>
          <a:noFill/>
          <a:ln w="2857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endParaRPr lang="en-US"/>
          </a:p>
        </p:txBody>
      </p:sp>
      <p:sp>
        <p:nvSpPr>
          <p:cNvPr id="116" name="Speech Bubble: Rectangle with Corners Rounded 115">
            <a:extLst>
              <a:ext uri="{FF2B5EF4-FFF2-40B4-BE49-F238E27FC236}">
                <a16:creationId xmlns:a16="http://schemas.microsoft.com/office/drawing/2014/main" id="{D685A21B-2238-4720-A73C-FB51B56D8B4B}"/>
              </a:ext>
            </a:extLst>
          </p:cNvPr>
          <p:cNvSpPr/>
          <p:nvPr/>
        </p:nvSpPr>
        <p:spPr>
          <a:xfrm>
            <a:off x="76992" y="1707384"/>
            <a:ext cx="1593189" cy="747882"/>
          </a:xfrm>
          <a:prstGeom prst="wedgeRoundRectCallout">
            <a:avLst>
              <a:gd name="adj1" fmla="val -20606"/>
              <a:gd name="adj2" fmla="val 84312"/>
              <a:gd name="adj3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75000"/>
              </a:lnSpc>
            </a:pPr>
            <a:r>
              <a:rPr lang="ar-SA" sz="1200" dirty="0">
                <a:solidFill>
                  <a:schemeClr val="bg1"/>
                </a:solidFill>
                <a:latin typeface="HRSD" panose="02000906030000020004" pitchFamily="2" charset="-78"/>
                <a:cs typeface="HRSD" panose="02000906030000020004" pitchFamily="2" charset="-78"/>
              </a:rPr>
              <a:t>ذكر أبرز المخرجات وتحديد لون الدائرة حسب حالة الإنجاز المذكورة في أسفل هذا الرفع</a:t>
            </a:r>
            <a:endParaRPr lang="en-US" sz="1200" dirty="0">
              <a:solidFill>
                <a:schemeClr val="bg1"/>
              </a:solidFill>
              <a:latin typeface="HRSD" panose="02000906030000020004" pitchFamily="2" charset="-78"/>
              <a:cs typeface="HRSD" panose="02000906030000020004" pitchFamily="2" charset="-78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B0C0771E-E837-4894-A8A5-780361B74595}"/>
              </a:ext>
            </a:extLst>
          </p:cNvPr>
          <p:cNvSpPr/>
          <p:nvPr/>
        </p:nvSpPr>
        <p:spPr>
          <a:xfrm>
            <a:off x="3669749" y="5130800"/>
            <a:ext cx="2575864" cy="1354248"/>
          </a:xfrm>
          <a:prstGeom prst="rect">
            <a:avLst/>
          </a:prstGeom>
          <a:noFill/>
          <a:ln w="28575">
            <a:solidFill>
              <a:schemeClr val="accent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endParaRPr lang="en-US"/>
          </a:p>
        </p:txBody>
      </p:sp>
      <p:sp>
        <p:nvSpPr>
          <p:cNvPr id="138" name="Speech Bubble: Rectangle with Corners Rounded 137">
            <a:extLst>
              <a:ext uri="{FF2B5EF4-FFF2-40B4-BE49-F238E27FC236}">
                <a16:creationId xmlns:a16="http://schemas.microsoft.com/office/drawing/2014/main" id="{68CB718D-C080-4623-9EDB-E4433953C5B3}"/>
              </a:ext>
            </a:extLst>
          </p:cNvPr>
          <p:cNvSpPr/>
          <p:nvPr/>
        </p:nvSpPr>
        <p:spPr>
          <a:xfrm>
            <a:off x="514081" y="6117860"/>
            <a:ext cx="3106231" cy="345330"/>
          </a:xfrm>
          <a:prstGeom prst="wedgeRoundRectCallout">
            <a:avLst>
              <a:gd name="adj1" fmla="val 51605"/>
              <a:gd name="adj2" fmla="val -100687"/>
              <a:gd name="adj3" fmla="val 16667"/>
            </a:avLst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75000"/>
              </a:lnSpc>
            </a:pPr>
            <a:r>
              <a:rPr lang="ar-SA" sz="1200" dirty="0">
                <a:solidFill>
                  <a:schemeClr val="bg1"/>
                </a:solidFill>
                <a:latin typeface="HRSD" panose="02000906030000020004" pitchFamily="2" charset="-78"/>
                <a:cs typeface="HRSD" panose="02000906030000020004" pitchFamily="2" charset="-78"/>
              </a:rPr>
              <a:t>تلوين مستوى الخطر لنفس درجة اللون الموضح أعلاه و تعديل موقع المؤشر ليمثل مكانه الصحيح</a:t>
            </a:r>
            <a:endParaRPr lang="en-US" sz="1200" dirty="0">
              <a:solidFill>
                <a:schemeClr val="bg1"/>
              </a:solidFill>
              <a:latin typeface="HRSD" panose="02000906030000020004" pitchFamily="2" charset="-78"/>
              <a:cs typeface="HRSD" panose="02000906030000020004" pitchFamily="2" charset="-78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6AB984BB-E0A6-4127-AD62-681B6F06543A}"/>
              </a:ext>
            </a:extLst>
          </p:cNvPr>
          <p:cNvSpPr/>
          <p:nvPr/>
        </p:nvSpPr>
        <p:spPr>
          <a:xfrm>
            <a:off x="9011699" y="5519853"/>
            <a:ext cx="2575864" cy="961469"/>
          </a:xfrm>
          <a:prstGeom prst="rect">
            <a:avLst/>
          </a:prstGeom>
          <a:noFill/>
          <a:ln w="2857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endParaRPr lang="en-US"/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354C007E-AEDD-4EC0-899C-F5D3EB97F8BF}"/>
              </a:ext>
            </a:extLst>
          </p:cNvPr>
          <p:cNvSpPr/>
          <p:nvPr/>
        </p:nvSpPr>
        <p:spPr>
          <a:xfrm>
            <a:off x="6316738" y="5521380"/>
            <a:ext cx="2575864" cy="961469"/>
          </a:xfrm>
          <a:prstGeom prst="rect">
            <a:avLst/>
          </a:prstGeom>
          <a:noFill/>
          <a:ln w="28575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endParaRPr lang="en-US"/>
          </a:p>
        </p:txBody>
      </p:sp>
      <p:sp>
        <p:nvSpPr>
          <p:cNvPr id="141" name="Speech Bubble: Rectangle with Corners Rounded 140">
            <a:extLst>
              <a:ext uri="{FF2B5EF4-FFF2-40B4-BE49-F238E27FC236}">
                <a16:creationId xmlns:a16="http://schemas.microsoft.com/office/drawing/2014/main" id="{6EB42BFF-7891-49BF-B1AF-80B59C7F60FD}"/>
              </a:ext>
            </a:extLst>
          </p:cNvPr>
          <p:cNvSpPr/>
          <p:nvPr/>
        </p:nvSpPr>
        <p:spPr>
          <a:xfrm>
            <a:off x="10481340" y="5015071"/>
            <a:ext cx="1581614" cy="383242"/>
          </a:xfrm>
          <a:prstGeom prst="wedgeRoundRectCallout">
            <a:avLst>
              <a:gd name="adj1" fmla="val -21676"/>
              <a:gd name="adj2" fmla="val 86588"/>
              <a:gd name="adj3" fmla="val 16667"/>
            </a:avLst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75000"/>
              </a:lnSpc>
            </a:pPr>
            <a:r>
              <a:rPr lang="ar-SA" sz="1200" dirty="0">
                <a:solidFill>
                  <a:schemeClr val="bg1"/>
                </a:solidFill>
                <a:latin typeface="HRSD" panose="02000906030000020004" pitchFamily="2" charset="-78"/>
                <a:cs typeface="HRSD" panose="02000906030000020004" pitchFamily="2" charset="-78"/>
              </a:rPr>
              <a:t>ذكر أبرز مخاطر التي تؤثر على سير عمل المشروع</a:t>
            </a:r>
            <a:endParaRPr lang="en-US" sz="1200" dirty="0">
              <a:solidFill>
                <a:schemeClr val="bg1"/>
              </a:solidFill>
              <a:latin typeface="HRSD" panose="02000906030000020004" pitchFamily="2" charset="-78"/>
              <a:cs typeface="HRSD" panose="02000906030000020004" pitchFamily="2" charset="-78"/>
            </a:endParaRPr>
          </a:p>
        </p:txBody>
      </p:sp>
      <p:sp>
        <p:nvSpPr>
          <p:cNvPr id="143" name="Speech Bubble: Rectangle with Corners Rounded 142">
            <a:extLst>
              <a:ext uri="{FF2B5EF4-FFF2-40B4-BE49-F238E27FC236}">
                <a16:creationId xmlns:a16="http://schemas.microsoft.com/office/drawing/2014/main" id="{5BAF47A1-B441-4494-B462-417AC3D8A241}"/>
              </a:ext>
            </a:extLst>
          </p:cNvPr>
          <p:cNvSpPr/>
          <p:nvPr/>
        </p:nvSpPr>
        <p:spPr>
          <a:xfrm>
            <a:off x="7946796" y="5026069"/>
            <a:ext cx="1640487" cy="383242"/>
          </a:xfrm>
          <a:prstGeom prst="wedgeRoundRectCallout">
            <a:avLst>
              <a:gd name="adj1" fmla="val -21676"/>
              <a:gd name="adj2" fmla="val 86588"/>
              <a:gd name="adj3" fmla="val 16667"/>
            </a:avLst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75000"/>
              </a:lnSpc>
            </a:pPr>
            <a:r>
              <a:rPr lang="ar-SA" sz="1200" dirty="0">
                <a:solidFill>
                  <a:schemeClr val="bg1"/>
                </a:solidFill>
                <a:latin typeface="HRSD" panose="02000906030000020004" pitchFamily="2" charset="-78"/>
                <a:cs typeface="HRSD" panose="02000906030000020004" pitchFamily="2" charset="-78"/>
              </a:rPr>
              <a:t>ذكر خطط الاستجابة المقترحة أو التي يجري العمل عليها </a:t>
            </a:r>
            <a:endParaRPr lang="en-US" sz="1200" dirty="0">
              <a:solidFill>
                <a:schemeClr val="bg1"/>
              </a:solidFill>
              <a:latin typeface="HRSD" panose="02000906030000020004" pitchFamily="2" charset="-78"/>
              <a:cs typeface="HRSD" panose="02000906030000020004" pitchFamily="2" charset="-78"/>
            </a:endParaRPr>
          </a:p>
        </p:txBody>
      </p:sp>
      <p:grpSp>
        <p:nvGrpSpPr>
          <p:cNvPr id="80" name="Group 79">
            <a:extLst>
              <a:ext uri="{FF2B5EF4-FFF2-40B4-BE49-F238E27FC236}">
                <a16:creationId xmlns:a16="http://schemas.microsoft.com/office/drawing/2014/main" id="{FE47AA27-64B2-4346-A64A-CDD226D297AE}"/>
              </a:ext>
            </a:extLst>
          </p:cNvPr>
          <p:cNvGrpSpPr/>
          <p:nvPr/>
        </p:nvGrpSpPr>
        <p:grpSpPr>
          <a:xfrm rot="16200000">
            <a:off x="-20794" y="-22156"/>
            <a:ext cx="1481671" cy="1525983"/>
            <a:chOff x="7670796" y="-44315"/>
            <a:chExt cx="1481671" cy="1525983"/>
          </a:xfrm>
          <a:solidFill>
            <a:srgbClr val="FFFF00"/>
          </a:solidFill>
        </p:grpSpPr>
        <p:sp>
          <p:nvSpPr>
            <p:cNvPr id="96" name="Freeform 6">
              <a:extLst>
                <a:ext uri="{FF2B5EF4-FFF2-40B4-BE49-F238E27FC236}">
                  <a16:creationId xmlns:a16="http://schemas.microsoft.com/office/drawing/2014/main" id="{BBA81696-82EC-4E14-B6A9-7C33C52D4DA4}"/>
                </a:ext>
              </a:extLst>
            </p:cNvPr>
            <p:cNvSpPr/>
            <p:nvPr/>
          </p:nvSpPr>
          <p:spPr>
            <a:xfrm rot="10800000">
              <a:off x="7670796" y="-3"/>
              <a:ext cx="1481671" cy="1481671"/>
            </a:xfrm>
            <a:custGeom>
              <a:avLst/>
              <a:gdLst>
                <a:gd name="connsiteX0" fmla="*/ 0 w 1481671"/>
                <a:gd name="connsiteY0" fmla="*/ 1481671 h 1481671"/>
                <a:gd name="connsiteX1" fmla="*/ 0 w 1481671"/>
                <a:gd name="connsiteY1" fmla="*/ 0 h 1481671"/>
                <a:gd name="connsiteX2" fmla="*/ 1481671 w 1481671"/>
                <a:gd name="connsiteY2" fmla="*/ 1481671 h 1481671"/>
                <a:gd name="connsiteX3" fmla="*/ 0 w 1481671"/>
                <a:gd name="connsiteY3" fmla="*/ 1481671 h 1481671"/>
                <a:gd name="connsiteX0" fmla="*/ 0 w 1481671"/>
                <a:gd name="connsiteY0" fmla="*/ 1481671 h 1485904"/>
                <a:gd name="connsiteX1" fmla="*/ 0 w 1481671"/>
                <a:gd name="connsiteY1" fmla="*/ 0 h 1485904"/>
                <a:gd name="connsiteX2" fmla="*/ 1481671 w 1481671"/>
                <a:gd name="connsiteY2" fmla="*/ 1481671 h 1485904"/>
                <a:gd name="connsiteX3" fmla="*/ 787400 w 1481671"/>
                <a:gd name="connsiteY3" fmla="*/ 1485904 h 1485904"/>
                <a:gd name="connsiteX4" fmla="*/ 0 w 1481671"/>
                <a:gd name="connsiteY4" fmla="*/ 1481671 h 1485904"/>
                <a:gd name="connsiteX0" fmla="*/ 0 w 1481671"/>
                <a:gd name="connsiteY0" fmla="*/ 1481671 h 1481671"/>
                <a:gd name="connsiteX1" fmla="*/ 0 w 1481671"/>
                <a:gd name="connsiteY1" fmla="*/ 0 h 1481671"/>
                <a:gd name="connsiteX2" fmla="*/ 1481671 w 1481671"/>
                <a:gd name="connsiteY2" fmla="*/ 1481671 h 1481671"/>
                <a:gd name="connsiteX3" fmla="*/ 736600 w 1481671"/>
                <a:gd name="connsiteY3" fmla="*/ 1481670 h 1481671"/>
                <a:gd name="connsiteX4" fmla="*/ 0 w 1481671"/>
                <a:gd name="connsiteY4" fmla="*/ 1481671 h 1481671"/>
                <a:gd name="connsiteX0" fmla="*/ 0 w 1481671"/>
                <a:gd name="connsiteY0" fmla="*/ 1481671 h 1481671"/>
                <a:gd name="connsiteX1" fmla="*/ 5292 w 1481671"/>
                <a:gd name="connsiteY1" fmla="*/ 678396 h 1481671"/>
                <a:gd name="connsiteX2" fmla="*/ 0 w 1481671"/>
                <a:gd name="connsiteY2" fmla="*/ 0 h 1481671"/>
                <a:gd name="connsiteX3" fmla="*/ 1481671 w 1481671"/>
                <a:gd name="connsiteY3" fmla="*/ 1481671 h 1481671"/>
                <a:gd name="connsiteX4" fmla="*/ 736600 w 1481671"/>
                <a:gd name="connsiteY4" fmla="*/ 1481670 h 1481671"/>
                <a:gd name="connsiteX5" fmla="*/ 0 w 1481671"/>
                <a:gd name="connsiteY5" fmla="*/ 1481671 h 1481671"/>
                <a:gd name="connsiteX0" fmla="*/ 0 w 1481671"/>
                <a:gd name="connsiteY0" fmla="*/ 1481671 h 1481671"/>
                <a:gd name="connsiteX1" fmla="*/ 5292 w 1481671"/>
                <a:gd name="connsiteY1" fmla="*/ 678396 h 1481671"/>
                <a:gd name="connsiteX2" fmla="*/ 5292 w 1481671"/>
                <a:gd name="connsiteY2" fmla="*/ 726021 h 1481671"/>
                <a:gd name="connsiteX3" fmla="*/ 0 w 1481671"/>
                <a:gd name="connsiteY3" fmla="*/ 0 h 1481671"/>
                <a:gd name="connsiteX4" fmla="*/ 1481671 w 1481671"/>
                <a:gd name="connsiteY4" fmla="*/ 1481671 h 1481671"/>
                <a:gd name="connsiteX5" fmla="*/ 736600 w 1481671"/>
                <a:gd name="connsiteY5" fmla="*/ 1481670 h 1481671"/>
                <a:gd name="connsiteX6" fmla="*/ 0 w 1481671"/>
                <a:gd name="connsiteY6" fmla="*/ 1481671 h 1481671"/>
                <a:gd name="connsiteX0" fmla="*/ 0 w 1481671"/>
                <a:gd name="connsiteY0" fmla="*/ 1481671 h 1481671"/>
                <a:gd name="connsiteX1" fmla="*/ 5292 w 1481671"/>
                <a:gd name="connsiteY1" fmla="*/ 678396 h 1481671"/>
                <a:gd name="connsiteX2" fmla="*/ 5292 w 1481671"/>
                <a:gd name="connsiteY2" fmla="*/ 726021 h 1481671"/>
                <a:gd name="connsiteX3" fmla="*/ 5292 w 1481671"/>
                <a:gd name="connsiteY3" fmla="*/ 741896 h 1481671"/>
                <a:gd name="connsiteX4" fmla="*/ 0 w 1481671"/>
                <a:gd name="connsiteY4" fmla="*/ 0 h 1481671"/>
                <a:gd name="connsiteX5" fmla="*/ 1481671 w 1481671"/>
                <a:gd name="connsiteY5" fmla="*/ 1481671 h 1481671"/>
                <a:gd name="connsiteX6" fmla="*/ 736600 w 1481671"/>
                <a:gd name="connsiteY6" fmla="*/ 1481670 h 1481671"/>
                <a:gd name="connsiteX7" fmla="*/ 0 w 1481671"/>
                <a:gd name="connsiteY7" fmla="*/ 1481671 h 1481671"/>
                <a:gd name="connsiteX0" fmla="*/ 736600 w 1481671"/>
                <a:gd name="connsiteY0" fmla="*/ 1481670 h 1481671"/>
                <a:gd name="connsiteX1" fmla="*/ 5292 w 1481671"/>
                <a:gd name="connsiteY1" fmla="*/ 678396 h 1481671"/>
                <a:gd name="connsiteX2" fmla="*/ 5292 w 1481671"/>
                <a:gd name="connsiteY2" fmla="*/ 726021 h 1481671"/>
                <a:gd name="connsiteX3" fmla="*/ 5292 w 1481671"/>
                <a:gd name="connsiteY3" fmla="*/ 741896 h 1481671"/>
                <a:gd name="connsiteX4" fmla="*/ 0 w 1481671"/>
                <a:gd name="connsiteY4" fmla="*/ 0 h 1481671"/>
                <a:gd name="connsiteX5" fmla="*/ 1481671 w 1481671"/>
                <a:gd name="connsiteY5" fmla="*/ 1481671 h 1481671"/>
                <a:gd name="connsiteX6" fmla="*/ 736600 w 1481671"/>
                <a:gd name="connsiteY6" fmla="*/ 1481670 h 1481671"/>
                <a:gd name="connsiteX0" fmla="*/ 736600 w 1481671"/>
                <a:gd name="connsiteY0" fmla="*/ 1481670 h 1481671"/>
                <a:gd name="connsiteX1" fmla="*/ 5292 w 1481671"/>
                <a:gd name="connsiteY1" fmla="*/ 678396 h 1481671"/>
                <a:gd name="connsiteX2" fmla="*/ 5292 w 1481671"/>
                <a:gd name="connsiteY2" fmla="*/ 726021 h 1481671"/>
                <a:gd name="connsiteX3" fmla="*/ 5292 w 1481671"/>
                <a:gd name="connsiteY3" fmla="*/ 741896 h 1481671"/>
                <a:gd name="connsiteX4" fmla="*/ 2118 w 1481671"/>
                <a:gd name="connsiteY4" fmla="*/ 599021 h 1481671"/>
                <a:gd name="connsiteX5" fmla="*/ 0 w 1481671"/>
                <a:gd name="connsiteY5" fmla="*/ 0 h 1481671"/>
                <a:gd name="connsiteX6" fmla="*/ 1481671 w 1481671"/>
                <a:gd name="connsiteY6" fmla="*/ 1481671 h 1481671"/>
                <a:gd name="connsiteX7" fmla="*/ 736600 w 1481671"/>
                <a:gd name="connsiteY7" fmla="*/ 1481670 h 1481671"/>
                <a:gd name="connsiteX0" fmla="*/ 829732 w 1574803"/>
                <a:gd name="connsiteY0" fmla="*/ 1481670 h 1481671"/>
                <a:gd name="connsiteX1" fmla="*/ 98424 w 1574803"/>
                <a:gd name="connsiteY1" fmla="*/ 678396 h 1481671"/>
                <a:gd name="connsiteX2" fmla="*/ 98424 w 1574803"/>
                <a:gd name="connsiteY2" fmla="*/ 726021 h 1481671"/>
                <a:gd name="connsiteX3" fmla="*/ 98424 w 1574803"/>
                <a:gd name="connsiteY3" fmla="*/ 741896 h 1481671"/>
                <a:gd name="connsiteX4" fmla="*/ 0 w 1574803"/>
                <a:gd name="connsiteY4" fmla="*/ 633946 h 1481671"/>
                <a:gd name="connsiteX5" fmla="*/ 95250 w 1574803"/>
                <a:gd name="connsiteY5" fmla="*/ 599021 h 1481671"/>
                <a:gd name="connsiteX6" fmla="*/ 93132 w 1574803"/>
                <a:gd name="connsiteY6" fmla="*/ 0 h 1481671"/>
                <a:gd name="connsiteX7" fmla="*/ 1574803 w 1574803"/>
                <a:gd name="connsiteY7" fmla="*/ 1481671 h 1481671"/>
                <a:gd name="connsiteX8" fmla="*/ 829732 w 1574803"/>
                <a:gd name="connsiteY8" fmla="*/ 1481670 h 1481671"/>
                <a:gd name="connsiteX0" fmla="*/ 736600 w 1481671"/>
                <a:gd name="connsiteY0" fmla="*/ 1481670 h 1481671"/>
                <a:gd name="connsiteX1" fmla="*/ 5292 w 1481671"/>
                <a:gd name="connsiteY1" fmla="*/ 678396 h 1481671"/>
                <a:gd name="connsiteX2" fmla="*/ 5292 w 1481671"/>
                <a:gd name="connsiteY2" fmla="*/ 726021 h 1481671"/>
                <a:gd name="connsiteX3" fmla="*/ 5292 w 1481671"/>
                <a:gd name="connsiteY3" fmla="*/ 741896 h 1481671"/>
                <a:gd name="connsiteX4" fmla="*/ 2118 w 1481671"/>
                <a:gd name="connsiteY4" fmla="*/ 599021 h 1481671"/>
                <a:gd name="connsiteX5" fmla="*/ 0 w 1481671"/>
                <a:gd name="connsiteY5" fmla="*/ 0 h 1481671"/>
                <a:gd name="connsiteX6" fmla="*/ 1481671 w 1481671"/>
                <a:gd name="connsiteY6" fmla="*/ 1481671 h 1481671"/>
                <a:gd name="connsiteX7" fmla="*/ 736600 w 1481671"/>
                <a:gd name="connsiteY7" fmla="*/ 1481670 h 1481671"/>
                <a:gd name="connsiteX0" fmla="*/ 2118 w 1481671"/>
                <a:gd name="connsiteY0" fmla="*/ 599021 h 1481671"/>
                <a:gd name="connsiteX1" fmla="*/ 0 w 1481671"/>
                <a:gd name="connsiteY1" fmla="*/ 0 h 1481671"/>
                <a:gd name="connsiteX2" fmla="*/ 1481671 w 1481671"/>
                <a:gd name="connsiteY2" fmla="*/ 1481671 h 1481671"/>
                <a:gd name="connsiteX3" fmla="*/ 736600 w 1481671"/>
                <a:gd name="connsiteY3" fmla="*/ 1481670 h 1481671"/>
                <a:gd name="connsiteX4" fmla="*/ 5292 w 1481671"/>
                <a:gd name="connsiteY4" fmla="*/ 678396 h 1481671"/>
                <a:gd name="connsiteX5" fmla="*/ 5292 w 1481671"/>
                <a:gd name="connsiteY5" fmla="*/ 726021 h 1481671"/>
                <a:gd name="connsiteX6" fmla="*/ 96732 w 1481671"/>
                <a:gd name="connsiteY6" fmla="*/ 833336 h 1481671"/>
                <a:gd name="connsiteX0" fmla="*/ 2118 w 1481671"/>
                <a:gd name="connsiteY0" fmla="*/ 599021 h 1481671"/>
                <a:gd name="connsiteX1" fmla="*/ 0 w 1481671"/>
                <a:gd name="connsiteY1" fmla="*/ 0 h 1481671"/>
                <a:gd name="connsiteX2" fmla="*/ 1481671 w 1481671"/>
                <a:gd name="connsiteY2" fmla="*/ 1481671 h 1481671"/>
                <a:gd name="connsiteX3" fmla="*/ 736600 w 1481671"/>
                <a:gd name="connsiteY3" fmla="*/ 1481670 h 1481671"/>
                <a:gd name="connsiteX4" fmla="*/ 5292 w 1481671"/>
                <a:gd name="connsiteY4" fmla="*/ 678396 h 1481671"/>
                <a:gd name="connsiteX5" fmla="*/ 5292 w 1481671"/>
                <a:gd name="connsiteY5" fmla="*/ 726021 h 1481671"/>
                <a:gd name="connsiteX0" fmla="*/ 2118 w 1481671"/>
                <a:gd name="connsiteY0" fmla="*/ 599021 h 1481671"/>
                <a:gd name="connsiteX1" fmla="*/ 0 w 1481671"/>
                <a:gd name="connsiteY1" fmla="*/ 0 h 1481671"/>
                <a:gd name="connsiteX2" fmla="*/ 1481671 w 1481671"/>
                <a:gd name="connsiteY2" fmla="*/ 1481671 h 1481671"/>
                <a:gd name="connsiteX3" fmla="*/ 736600 w 1481671"/>
                <a:gd name="connsiteY3" fmla="*/ 1481670 h 1481671"/>
                <a:gd name="connsiteX4" fmla="*/ 5292 w 1481671"/>
                <a:gd name="connsiteY4" fmla="*/ 678396 h 1481671"/>
                <a:gd name="connsiteX0" fmla="*/ 0 w 1481671"/>
                <a:gd name="connsiteY0" fmla="*/ 0 h 1481671"/>
                <a:gd name="connsiteX1" fmla="*/ 1481671 w 1481671"/>
                <a:gd name="connsiteY1" fmla="*/ 1481671 h 1481671"/>
                <a:gd name="connsiteX2" fmla="*/ 736600 w 1481671"/>
                <a:gd name="connsiteY2" fmla="*/ 1481670 h 1481671"/>
                <a:gd name="connsiteX3" fmla="*/ 5292 w 1481671"/>
                <a:gd name="connsiteY3" fmla="*/ 678396 h 1481671"/>
                <a:gd name="connsiteX0" fmla="*/ 1058 w 1482729"/>
                <a:gd name="connsiteY0" fmla="*/ 0 h 1481671"/>
                <a:gd name="connsiteX1" fmla="*/ 1482729 w 1482729"/>
                <a:gd name="connsiteY1" fmla="*/ 1481671 h 1481671"/>
                <a:gd name="connsiteX2" fmla="*/ 737658 w 1482729"/>
                <a:gd name="connsiteY2" fmla="*/ 1481670 h 1481671"/>
                <a:gd name="connsiteX3" fmla="*/ 0 w 1482729"/>
                <a:gd name="connsiteY3" fmla="*/ 678395 h 1481671"/>
                <a:gd name="connsiteX0" fmla="*/ 0 w 1481671"/>
                <a:gd name="connsiteY0" fmla="*/ 0 h 1481671"/>
                <a:gd name="connsiteX1" fmla="*/ 1481671 w 1481671"/>
                <a:gd name="connsiteY1" fmla="*/ 1481671 h 1481671"/>
                <a:gd name="connsiteX2" fmla="*/ 736600 w 1481671"/>
                <a:gd name="connsiteY2" fmla="*/ 1481670 h 1481671"/>
                <a:gd name="connsiteX3" fmla="*/ 2117 w 1481671"/>
                <a:gd name="connsiteY3" fmla="*/ 716495 h 1481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81671" h="1481671">
                  <a:moveTo>
                    <a:pt x="0" y="0"/>
                  </a:moveTo>
                  <a:lnTo>
                    <a:pt x="1481671" y="1481671"/>
                  </a:lnTo>
                  <a:lnTo>
                    <a:pt x="736600" y="1481670"/>
                  </a:lnTo>
                  <a:lnTo>
                    <a:pt x="2117" y="716495"/>
                  </a:lnTo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127000" dist="38100" dir="19740000">
                <a:schemeClr val="tx1">
                  <a:alpha val="25000"/>
                </a:scheme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2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93414CE4-B556-4A43-817D-CEBC634E69A2}"/>
                </a:ext>
              </a:extLst>
            </p:cNvPr>
            <p:cNvSpPr txBox="1"/>
            <p:nvPr/>
          </p:nvSpPr>
          <p:spPr>
            <a:xfrm rot="2774279">
              <a:off x="7956919" y="421678"/>
              <a:ext cx="1228221" cy="296235"/>
            </a:xfrm>
            <a:prstGeom prst="rect">
              <a:avLst/>
            </a:prstGeom>
            <a:solidFill>
              <a:schemeClr val="accent4"/>
            </a:solidFill>
          </p:spPr>
          <p:txBody>
            <a:bodyPr wrap="none" rtlCol="0">
              <a:spAutoFit/>
            </a:bodyPr>
            <a:lstStyle/>
            <a:p>
              <a:pPr algn="ctr" rtl="1">
                <a:lnSpc>
                  <a:spcPts val="1400"/>
                </a:lnSpc>
              </a:pPr>
              <a:r>
                <a:rPr lang="ar-AE" b="1" cap="all" dirty="0">
                  <a:solidFill>
                    <a:schemeClr val="bg1"/>
                  </a:solidFill>
                  <a:latin typeface="HRSD" panose="02000906030000020004" pitchFamily="2" charset="-78"/>
                  <a:cs typeface="HRSD" panose="02000906030000020004" pitchFamily="2" charset="-78"/>
                </a:rPr>
                <a:t>مثال توضيحي</a:t>
              </a:r>
              <a:endParaRPr lang="en-US" b="1" cap="all" dirty="0">
                <a:solidFill>
                  <a:schemeClr val="bg1"/>
                </a:solidFill>
                <a:latin typeface="HRSD" panose="02000906030000020004" pitchFamily="2" charset="-78"/>
                <a:cs typeface="HRSD" panose="02000906030000020004" pitchFamily="2" charset="-78"/>
              </a:endParaRPr>
            </a:p>
          </p:txBody>
        </p:sp>
      </p:grpSp>
      <p:sp>
        <p:nvSpPr>
          <p:cNvPr id="103" name="TextBox 102">
            <a:extLst>
              <a:ext uri="{FF2B5EF4-FFF2-40B4-BE49-F238E27FC236}">
                <a16:creationId xmlns:a16="http://schemas.microsoft.com/office/drawing/2014/main" id="{519B63F3-4100-4475-9935-37D44641A915}"/>
              </a:ext>
            </a:extLst>
          </p:cNvPr>
          <p:cNvSpPr txBox="1"/>
          <p:nvPr/>
        </p:nvSpPr>
        <p:spPr>
          <a:xfrm>
            <a:off x="-88145" y="86498"/>
            <a:ext cx="3313402" cy="528972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marL="0" algn="r" defTabSz="914400" rtl="1" eaLnBrk="1" latinLnBrk="0" hangingPunct="1"/>
            <a:r>
              <a:rPr lang="ar-SA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HRSD Title" panose="02000906030000020004" pitchFamily="2" charset="-78"/>
                <a:cs typeface="HRSD Title" panose="02000906030000020004" pitchFamily="2" charset="-78"/>
              </a:rPr>
              <a:t>تاريخ بدء المشروع </a:t>
            </a:r>
            <a:r>
              <a:rPr lang="ar-SA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HRSD Title" panose="02000906030000020004" pitchFamily="2" charset="-78"/>
                <a:cs typeface="HRSD Title" panose="02000906030000020004" pitchFamily="2" charset="-78"/>
              </a:rPr>
              <a:t>:</a:t>
            </a:r>
            <a:r>
              <a:rPr lang="en-US" sz="16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HRSD Title" panose="02000906030000020004" pitchFamily="2" charset="-78"/>
                <a:cs typeface="HRSD Title" panose="02000906030000020004" pitchFamily="2" charset="-78"/>
              </a:rPr>
              <a:t>xxxx</a:t>
            </a: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HRSD Title" panose="02000906030000020004" pitchFamily="2" charset="-78"/>
                <a:cs typeface="HRSD Title" panose="02000906030000020004" pitchFamily="2" charset="-78"/>
              </a:rPr>
              <a:t>/xx/</a:t>
            </a: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HRSD Title" panose="02000906030000020004" pitchFamily="2" charset="-78"/>
                <a:cs typeface="HRSD Title" panose="02000906030000020004" pitchFamily="2" charset="-78"/>
              </a:rPr>
              <a:t>xx</a:t>
            </a:r>
            <a:endParaRPr lang="ar-SA" sz="1400" dirty="0">
              <a:solidFill>
                <a:schemeClr val="tx1">
                  <a:lumMod val="95000"/>
                  <a:lumOff val="5000"/>
                </a:schemeClr>
              </a:solidFill>
              <a:latin typeface="HRSD Title" panose="02000906030000020004" pitchFamily="2" charset="-78"/>
              <a:cs typeface="HRSD Title" panose="02000906030000020004" pitchFamily="2" charset="-78"/>
            </a:endParaRPr>
          </a:p>
          <a:p>
            <a:pPr marL="0" algn="r" defTabSz="914400" rtl="1" eaLnBrk="1" latinLnBrk="0" hangingPunct="1"/>
            <a:r>
              <a:rPr lang="ar-SA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HRSD Title" panose="02000906030000020004" pitchFamily="2" charset="-78"/>
                <a:cs typeface="HRSD Title" panose="02000906030000020004" pitchFamily="2" charset="-78"/>
              </a:rPr>
              <a:t>تاريخ انتهاء المشروع: </a:t>
            </a:r>
            <a:r>
              <a:rPr lang="en-US" sz="16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HRSD Title" panose="02000906030000020004" pitchFamily="2" charset="-78"/>
                <a:cs typeface="HRSD Title" panose="02000906030000020004" pitchFamily="2" charset="-78"/>
              </a:rPr>
              <a:t>xxxx</a:t>
            </a:r>
            <a:r>
              <a:rPr lang="en-US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HRSD Title" panose="02000906030000020004" pitchFamily="2" charset="-78"/>
                <a:cs typeface="HRSD Title" panose="02000906030000020004" pitchFamily="2" charset="-78"/>
              </a:rPr>
              <a:t>/xx/xx</a:t>
            </a:r>
            <a:endParaRPr lang="ar-SA" sz="1100" dirty="0">
              <a:solidFill>
                <a:schemeClr val="tx1">
                  <a:lumMod val="95000"/>
                  <a:lumOff val="5000"/>
                </a:schemeClr>
              </a:solidFill>
              <a:latin typeface="HRSD Title" panose="02000906030000020004" pitchFamily="2" charset="-78"/>
              <a:cs typeface="HRSD Title" panose="02000906030000020004" pitchFamily="2" charset="-78"/>
            </a:endParaRPr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185AF481-32D6-47EF-AEEB-8CB70994A9FD}"/>
              </a:ext>
            </a:extLst>
          </p:cNvPr>
          <p:cNvGrpSpPr/>
          <p:nvPr/>
        </p:nvGrpSpPr>
        <p:grpSpPr>
          <a:xfrm>
            <a:off x="3594094" y="1869911"/>
            <a:ext cx="2690992" cy="2644693"/>
            <a:chOff x="1547465" y="3344306"/>
            <a:chExt cx="2502502" cy="2190123"/>
          </a:xfrm>
        </p:grpSpPr>
        <p:sp>
          <p:nvSpPr>
            <p:cNvPr id="142" name="Rectangle 141">
              <a:extLst>
                <a:ext uri="{FF2B5EF4-FFF2-40B4-BE49-F238E27FC236}">
                  <a16:creationId xmlns:a16="http://schemas.microsoft.com/office/drawing/2014/main" id="{0A3F5492-14F7-4DA4-B1C5-94C686E2F4F5}"/>
                </a:ext>
              </a:extLst>
            </p:cNvPr>
            <p:cNvSpPr/>
            <p:nvPr/>
          </p:nvSpPr>
          <p:spPr>
            <a:xfrm>
              <a:off x="1880434" y="3586476"/>
              <a:ext cx="274320" cy="1461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9150" tIns="49150" rIns="49150" bIns="49150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%90</a:t>
              </a:r>
            </a:p>
          </p:txBody>
        </p:sp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905FDCA8-8273-4539-B0B5-1C4DEF379174}"/>
                </a:ext>
              </a:extLst>
            </p:cNvPr>
            <p:cNvSpPr/>
            <p:nvPr/>
          </p:nvSpPr>
          <p:spPr>
            <a:xfrm>
              <a:off x="2199035" y="3403320"/>
              <a:ext cx="274320" cy="1461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9150" tIns="49150" rIns="49150" bIns="49150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%95</a:t>
              </a:r>
            </a:p>
          </p:txBody>
        </p:sp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id="{32C8C96F-94D8-47D4-B3C6-813727307434}"/>
                </a:ext>
              </a:extLst>
            </p:cNvPr>
            <p:cNvSpPr/>
            <p:nvPr/>
          </p:nvSpPr>
          <p:spPr>
            <a:xfrm>
              <a:off x="2570314" y="3344306"/>
              <a:ext cx="365760" cy="1461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9150" tIns="49150" rIns="49150" bIns="49150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%100</a:t>
              </a:r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694B144B-1741-46D5-AD40-CF7D630767CA}"/>
                </a:ext>
              </a:extLst>
            </p:cNvPr>
            <p:cNvSpPr/>
            <p:nvPr/>
          </p:nvSpPr>
          <p:spPr>
            <a:xfrm>
              <a:off x="3051949" y="3403321"/>
              <a:ext cx="274320" cy="1461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9150" tIns="49150" rIns="49150" bIns="49150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%5</a:t>
              </a:r>
            </a:p>
          </p:txBody>
        </p:sp>
        <p:sp>
          <p:nvSpPr>
            <p:cNvPr id="147" name="Rectangle 146">
              <a:extLst>
                <a:ext uri="{FF2B5EF4-FFF2-40B4-BE49-F238E27FC236}">
                  <a16:creationId xmlns:a16="http://schemas.microsoft.com/office/drawing/2014/main" id="{D7D256F3-0269-4ECC-A8E1-E77E41AEB233}"/>
                </a:ext>
              </a:extLst>
            </p:cNvPr>
            <p:cNvSpPr/>
            <p:nvPr/>
          </p:nvSpPr>
          <p:spPr>
            <a:xfrm>
              <a:off x="3383001" y="3586477"/>
              <a:ext cx="274320" cy="1461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9150" tIns="49150" rIns="49150" bIns="49150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%10</a:t>
              </a:r>
            </a:p>
          </p:txBody>
        </p:sp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900C7986-3C48-4207-B75E-EA84DC2F9308}"/>
                </a:ext>
              </a:extLst>
            </p:cNvPr>
            <p:cNvSpPr/>
            <p:nvPr/>
          </p:nvSpPr>
          <p:spPr>
            <a:xfrm>
              <a:off x="3573538" y="3827358"/>
              <a:ext cx="274320" cy="1461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9150" tIns="49150" rIns="49150" bIns="49150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%15</a:t>
              </a:r>
            </a:p>
          </p:txBody>
        </p:sp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70B9D04D-0FEE-4573-BC40-839E4589593C}"/>
                </a:ext>
              </a:extLst>
            </p:cNvPr>
            <p:cNvSpPr/>
            <p:nvPr/>
          </p:nvSpPr>
          <p:spPr>
            <a:xfrm>
              <a:off x="3683968" y="4092161"/>
              <a:ext cx="274320" cy="1461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9150" tIns="49150" rIns="49150" bIns="49150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%20</a:t>
              </a:r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274277EE-2507-48EA-9F69-03C3B1D273A5}"/>
                </a:ext>
              </a:extLst>
            </p:cNvPr>
            <p:cNvSpPr/>
            <p:nvPr/>
          </p:nvSpPr>
          <p:spPr>
            <a:xfrm>
              <a:off x="3710697" y="4353400"/>
              <a:ext cx="339270" cy="1461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9150" tIns="49150" rIns="49150" bIns="49150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%25</a:t>
              </a:r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5A40FC58-CFBD-435E-B72D-FA9EA4081903}"/>
                </a:ext>
              </a:extLst>
            </p:cNvPr>
            <p:cNvSpPr/>
            <p:nvPr/>
          </p:nvSpPr>
          <p:spPr>
            <a:xfrm>
              <a:off x="1664355" y="3824960"/>
              <a:ext cx="339270" cy="1461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9150" tIns="49150" rIns="49150" bIns="49150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%85</a:t>
              </a:r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52E7E70F-270A-4AB5-9A78-1C65A327FE66}"/>
                </a:ext>
              </a:extLst>
            </p:cNvPr>
            <p:cNvSpPr/>
            <p:nvPr/>
          </p:nvSpPr>
          <p:spPr>
            <a:xfrm>
              <a:off x="1547465" y="4353400"/>
              <a:ext cx="274320" cy="1461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9150" tIns="49150" rIns="49150" bIns="49150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%75</a:t>
              </a:r>
            </a:p>
          </p:txBody>
        </p:sp>
        <p:sp>
          <p:nvSpPr>
            <p:cNvPr id="153" name="Rectangle 152">
              <a:extLst>
                <a:ext uri="{FF2B5EF4-FFF2-40B4-BE49-F238E27FC236}">
                  <a16:creationId xmlns:a16="http://schemas.microsoft.com/office/drawing/2014/main" id="{2B0F082F-8DC5-423A-9705-1F4DE4B16E15}"/>
                </a:ext>
              </a:extLst>
            </p:cNvPr>
            <p:cNvSpPr/>
            <p:nvPr/>
          </p:nvSpPr>
          <p:spPr>
            <a:xfrm>
              <a:off x="1603692" y="4661016"/>
              <a:ext cx="274320" cy="1461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9150" tIns="49150" rIns="49150" bIns="49150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%70</a:t>
              </a:r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4D59C1AE-D2B8-456D-BF81-FC05A69F3FD3}"/>
                </a:ext>
              </a:extLst>
            </p:cNvPr>
            <p:cNvSpPr/>
            <p:nvPr/>
          </p:nvSpPr>
          <p:spPr>
            <a:xfrm>
              <a:off x="1700028" y="4932415"/>
              <a:ext cx="274320" cy="1461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9150" tIns="49150" rIns="49150" bIns="49150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%65</a:t>
              </a:r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87E19EBE-FB86-47BA-8C26-1F0C57B0FC67}"/>
                </a:ext>
              </a:extLst>
            </p:cNvPr>
            <p:cNvSpPr/>
            <p:nvPr/>
          </p:nvSpPr>
          <p:spPr>
            <a:xfrm>
              <a:off x="1880434" y="5172486"/>
              <a:ext cx="274320" cy="1461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9150" tIns="49150" rIns="49150" bIns="49150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%60</a:t>
              </a:r>
            </a:p>
          </p:txBody>
        </p:sp>
        <p:sp>
          <p:nvSpPr>
            <p:cNvPr id="156" name="Rectangle 155">
              <a:extLst>
                <a:ext uri="{FF2B5EF4-FFF2-40B4-BE49-F238E27FC236}">
                  <a16:creationId xmlns:a16="http://schemas.microsoft.com/office/drawing/2014/main" id="{5A5FB2BC-F720-4CAB-9F7A-9D523BA01469}"/>
                </a:ext>
              </a:extLst>
            </p:cNvPr>
            <p:cNvSpPr/>
            <p:nvPr/>
          </p:nvSpPr>
          <p:spPr>
            <a:xfrm>
              <a:off x="2199035" y="5326803"/>
              <a:ext cx="274320" cy="1461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9150" tIns="49150" rIns="49150" bIns="49150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%55</a:t>
              </a:r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D5197C03-67BB-4824-866D-70AAB5EEBED5}"/>
                </a:ext>
              </a:extLst>
            </p:cNvPr>
            <p:cNvSpPr/>
            <p:nvPr/>
          </p:nvSpPr>
          <p:spPr>
            <a:xfrm>
              <a:off x="2645487" y="5388290"/>
              <a:ext cx="274320" cy="1461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9150" tIns="49150" rIns="49150" bIns="49150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%50</a:t>
              </a:r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B65C44BA-EC85-4F89-88C8-0CD23EE4A808}"/>
                </a:ext>
              </a:extLst>
            </p:cNvPr>
            <p:cNvSpPr/>
            <p:nvPr/>
          </p:nvSpPr>
          <p:spPr>
            <a:xfrm>
              <a:off x="3047038" y="5322070"/>
              <a:ext cx="274320" cy="1461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9150" tIns="49150" rIns="49150" bIns="49150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%45</a:t>
              </a:r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FFFDF436-F3C1-4C59-A986-B1A4E8449B14}"/>
                </a:ext>
              </a:extLst>
            </p:cNvPr>
            <p:cNvSpPr/>
            <p:nvPr/>
          </p:nvSpPr>
          <p:spPr>
            <a:xfrm>
              <a:off x="3383001" y="5175932"/>
              <a:ext cx="274320" cy="1461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9150" tIns="49150" rIns="49150" bIns="49150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%40</a:t>
              </a:r>
            </a:p>
          </p:txBody>
        </p:sp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8B0C25DE-C53F-489E-8257-0F23F1889E7F}"/>
                </a:ext>
              </a:extLst>
            </p:cNvPr>
            <p:cNvSpPr/>
            <p:nvPr/>
          </p:nvSpPr>
          <p:spPr>
            <a:xfrm>
              <a:off x="3573538" y="4926947"/>
              <a:ext cx="274320" cy="1461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9150" tIns="49150" rIns="49150" bIns="49150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%35</a:t>
              </a:r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1ADE2F43-9085-4CA6-9C89-A7868444122F}"/>
                </a:ext>
              </a:extLst>
            </p:cNvPr>
            <p:cNvSpPr/>
            <p:nvPr/>
          </p:nvSpPr>
          <p:spPr>
            <a:xfrm>
              <a:off x="3683968" y="4659398"/>
              <a:ext cx="274320" cy="1461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9150" tIns="49150" rIns="49150" bIns="49150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%30</a:t>
              </a:r>
            </a:p>
          </p:txBody>
        </p:sp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317165CF-A8A0-4EE7-8975-A53E46AB42A4}"/>
                </a:ext>
              </a:extLst>
            </p:cNvPr>
            <p:cNvSpPr/>
            <p:nvPr/>
          </p:nvSpPr>
          <p:spPr>
            <a:xfrm>
              <a:off x="1573304" y="4092162"/>
              <a:ext cx="339270" cy="14613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9150" tIns="49150" rIns="49150" bIns="49150" rtlCol="0" anchor="ctr"/>
            <a:lstStyle/>
            <a:p>
              <a:pPr marL="0" marR="0" lvl="0" indent="0" algn="ctr" defTabSz="8229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HRSD" panose="02000906030000020004" pitchFamily="2" charset="-78"/>
                  <a:ea typeface="+mn-ea"/>
                  <a:cs typeface="HRSD" panose="02000906030000020004" pitchFamily="2" charset="-78"/>
                </a:rPr>
                <a:t>%80</a:t>
              </a:r>
            </a:p>
          </p:txBody>
        </p:sp>
      </p:grpSp>
      <p:sp>
        <p:nvSpPr>
          <p:cNvPr id="163" name="Block Arc 162">
            <a:extLst>
              <a:ext uri="{FF2B5EF4-FFF2-40B4-BE49-F238E27FC236}">
                <a16:creationId xmlns:a16="http://schemas.microsoft.com/office/drawing/2014/main" id="{B2A6E917-0E3B-4CA6-96E4-C4C09367950C}"/>
              </a:ext>
            </a:extLst>
          </p:cNvPr>
          <p:cNvSpPr/>
          <p:nvPr/>
        </p:nvSpPr>
        <p:spPr>
          <a:xfrm flipH="1">
            <a:off x="3966928" y="2072459"/>
            <a:ext cx="1920259" cy="2194469"/>
          </a:xfrm>
          <a:prstGeom prst="blockArc">
            <a:avLst>
              <a:gd name="adj1" fmla="val 9533071"/>
              <a:gd name="adj2" fmla="val 16248790"/>
              <a:gd name="adj3" fmla="val 6622"/>
            </a:avLst>
          </a:prstGeom>
          <a:solidFill>
            <a:schemeClr val="accent2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150" tIns="49150" rIns="49150" bIns="49150" rtlCol="0" anchor="ctr"/>
          <a:lstStyle/>
          <a:p>
            <a:pPr marL="0" marR="0" lvl="0" indent="0" algn="l" defTabSz="822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7931D"/>
              </a:solidFill>
              <a:effectLst/>
              <a:uLnTx/>
              <a:uFillTx/>
              <a:latin typeface="HRSD" panose="02000906030000020004" pitchFamily="2" charset="-78"/>
              <a:ea typeface="+mn-ea"/>
              <a:cs typeface="HRSD" panose="02000906030000020004" pitchFamily="2" charset="-78"/>
            </a:endParaRPr>
          </a:p>
        </p:txBody>
      </p:sp>
      <p:sp>
        <p:nvSpPr>
          <p:cNvPr id="164" name="Block Arc 163">
            <a:extLst>
              <a:ext uri="{FF2B5EF4-FFF2-40B4-BE49-F238E27FC236}">
                <a16:creationId xmlns:a16="http://schemas.microsoft.com/office/drawing/2014/main" id="{36652CBE-34AA-41E6-B7C0-699A60443500}"/>
              </a:ext>
            </a:extLst>
          </p:cNvPr>
          <p:cNvSpPr/>
          <p:nvPr/>
        </p:nvSpPr>
        <p:spPr>
          <a:xfrm flipH="1">
            <a:off x="4082903" y="2176786"/>
            <a:ext cx="1692322" cy="1969168"/>
          </a:xfrm>
          <a:prstGeom prst="blockArc">
            <a:avLst>
              <a:gd name="adj1" fmla="val 7841132"/>
              <a:gd name="adj2" fmla="val 16248790"/>
              <a:gd name="adj3" fmla="val 6622"/>
            </a:avLst>
          </a:prstGeom>
          <a:solidFill>
            <a:schemeClr val="accent5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150" tIns="49150" rIns="49150" bIns="49150" rtlCol="0" anchor="ctr"/>
          <a:lstStyle/>
          <a:p>
            <a:pPr marL="0" marR="0" lvl="0" indent="0" algn="l" defTabSz="822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7931D"/>
              </a:solidFill>
              <a:effectLst/>
              <a:uLnTx/>
              <a:uFillTx/>
              <a:latin typeface="HRSD" panose="02000906030000020004" pitchFamily="2" charset="-78"/>
              <a:ea typeface="+mn-ea"/>
              <a:cs typeface="HRSD" panose="02000906030000020004" pitchFamily="2" charset="-78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27FA2F7C-07B8-4774-B870-EFA5C862A334}"/>
              </a:ext>
            </a:extLst>
          </p:cNvPr>
          <p:cNvSpPr/>
          <p:nvPr/>
        </p:nvSpPr>
        <p:spPr>
          <a:xfrm>
            <a:off x="4293116" y="2729755"/>
            <a:ext cx="1034246" cy="1746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150" tIns="49150" rIns="49150" bIns="49150" rtlCol="0" anchor="ctr"/>
          <a:lstStyle/>
          <a:p>
            <a:pPr marL="0" marR="0" lvl="0" indent="0" algn="ctr" defTabSz="822912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2400" b="1" i="0" u="none" strike="noStrike" kern="1200" cap="none" spc="0" normalizeH="0" baseline="0" noProof="0" dirty="0">
                <a:ln>
                  <a:noFill/>
                </a:ln>
                <a:solidFill>
                  <a:srgbClr val="158284"/>
                </a:solidFill>
                <a:effectLst/>
                <a:uLnTx/>
                <a:uFillTx/>
                <a:latin typeface="HRSD" panose="02000906030000020004" pitchFamily="2" charset="-78"/>
                <a:cs typeface="HRSD" panose="02000906030000020004" pitchFamily="2" charset="-78"/>
              </a:rPr>
              <a:t>الفعلي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158284"/>
              </a:solidFill>
              <a:effectLst/>
              <a:uLnTx/>
              <a:uFillTx/>
              <a:latin typeface="HRSD" panose="02000906030000020004" pitchFamily="2" charset="-78"/>
              <a:cs typeface="HRSD"/>
            </a:endParaRPr>
          </a:p>
          <a:p>
            <a:pPr marL="0" marR="0" lvl="0" indent="0" algn="ctr" defTabSz="822912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rgbClr val="158284"/>
                </a:solidFill>
                <a:latin typeface="HRSD" panose="02000906030000020004" pitchFamily="2" charset="-78"/>
                <a:cs typeface="HRSD"/>
              </a:rPr>
              <a:t>xx%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158284"/>
              </a:solidFill>
              <a:effectLst/>
              <a:uLnTx/>
              <a:uFillTx/>
              <a:latin typeface="HRSD" panose="02000906030000020004" pitchFamily="2" charset="-78"/>
              <a:cs typeface="HRSD" panose="02000906030000020004" pitchFamily="2" charset="-78"/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32D3327E-E55E-4FF9-B8A2-A3D215B7A670}"/>
              </a:ext>
            </a:extLst>
          </p:cNvPr>
          <p:cNvSpPr/>
          <p:nvPr/>
        </p:nvSpPr>
        <p:spPr>
          <a:xfrm>
            <a:off x="4293116" y="3492006"/>
            <a:ext cx="1034246" cy="1432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150" tIns="49150" rIns="49150" bIns="49150" rtlCol="0" anchor="ctr"/>
          <a:lstStyle/>
          <a:p>
            <a:pPr marL="0" marR="0" lvl="0" indent="0" algn="ctr" defTabSz="822912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2400" b="1" i="0" u="none" strike="noStrike" kern="1200" cap="none" spc="0" normalizeH="0" baseline="0" noProof="0" dirty="0">
                <a:ln>
                  <a:noFill/>
                </a:ln>
                <a:solidFill>
                  <a:srgbClr val="F7931D"/>
                </a:solidFill>
                <a:effectLst/>
                <a:uLnTx/>
                <a:uFillTx/>
                <a:latin typeface="HRSD" panose="02000906030000020004" pitchFamily="2" charset="-78"/>
                <a:cs typeface="HRSD" panose="02000906030000020004" pitchFamily="2" charset="-78"/>
              </a:rPr>
              <a:t>المخطط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7931D"/>
                </a:solidFill>
                <a:effectLst/>
                <a:uLnTx/>
                <a:uFillTx/>
                <a:latin typeface="HRSD" panose="02000906030000020004" pitchFamily="2" charset="-78"/>
                <a:cs typeface="HRSD" panose="02000906030000020004" pitchFamily="2" charset="-78"/>
              </a:rPr>
              <a:t/>
            </a:r>
            <a:b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7931D"/>
                </a:solidFill>
                <a:effectLst/>
                <a:uLnTx/>
                <a:uFillTx/>
                <a:latin typeface="HRSD" panose="02000906030000020004" pitchFamily="2" charset="-78"/>
                <a:cs typeface="HRSD" panose="02000906030000020004" pitchFamily="2" charset="-78"/>
              </a:rPr>
            </a:br>
            <a:r>
              <a:rPr lang="en-US" sz="2400" b="1" noProof="0" dirty="0">
                <a:solidFill>
                  <a:srgbClr val="F7931D"/>
                </a:solidFill>
                <a:latin typeface="HRSD" panose="02000906030000020004" pitchFamily="2" charset="-78"/>
                <a:cs typeface="HRSD" panose="02000906030000020004" pitchFamily="2" charset="-78"/>
              </a:rPr>
              <a:t>xx%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7931D"/>
              </a:solidFill>
              <a:effectLst/>
              <a:uLnTx/>
              <a:uFillTx/>
              <a:latin typeface="HRSD" panose="02000906030000020004" pitchFamily="2" charset="-78"/>
              <a:cs typeface="HRSD" panose="02000906030000020004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029116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0F3DDBD-2ABB-4181-AD9A-16CE35D0A9B0}"/>
              </a:ext>
            </a:extLst>
          </p:cNvPr>
          <p:cNvSpPr/>
          <p:nvPr/>
        </p:nvSpPr>
        <p:spPr>
          <a:xfrm>
            <a:off x="1212783" y="3821229"/>
            <a:ext cx="5149516" cy="11357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defTabSz="914400" rtl="1" eaLnBrk="1" latinLnBrk="0" hangingPunct="1"/>
            <a:r>
              <a:rPr lang="ar-SA" sz="6600">
                <a:latin typeface="HRSD" panose="02000906030000020004" pitchFamily="2" charset="-78"/>
                <a:cs typeface="HRSD" panose="02000906030000020004" pitchFamily="2" charset="-78"/>
              </a:rPr>
              <a:t>نهاية الوثيقة</a:t>
            </a:r>
            <a:endParaRPr lang="en-US" sz="6600">
              <a:latin typeface="HRSD" panose="02000906030000020004" pitchFamily="2" charset="-78"/>
              <a:cs typeface="HRSD" panose="02000906030000020004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91555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craBSWG7iOxd863rEPp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craBSWG7iOxd863rEPpg"/>
</p:tagLst>
</file>

<file path=ppt/theme/theme1.xml><?xml version="1.0" encoding="utf-8"?>
<a:theme xmlns:a="http://schemas.openxmlformats.org/drawingml/2006/main" name="Office Theme">
  <a:themeElements>
    <a:clrScheme name="HRSD">
      <a:dk1>
        <a:srgbClr val="000000"/>
      </a:dk1>
      <a:lt1>
        <a:srgbClr val="FFFFFF"/>
      </a:lt1>
      <a:dk2>
        <a:srgbClr val="134258"/>
      </a:dk2>
      <a:lt2>
        <a:srgbClr val="E7E6E6"/>
      </a:lt2>
      <a:accent1>
        <a:srgbClr val="134258"/>
      </a:accent1>
      <a:accent2>
        <a:srgbClr val="158284"/>
      </a:accent2>
      <a:accent3>
        <a:srgbClr val="2BB473"/>
      </a:accent3>
      <a:accent4>
        <a:srgbClr val="FCB613"/>
      </a:accent4>
      <a:accent5>
        <a:srgbClr val="F7931D"/>
      </a:accent5>
      <a:accent6>
        <a:srgbClr val="158284"/>
      </a:accent6>
      <a:hlink>
        <a:srgbClr val="0563C1"/>
      </a:hlink>
      <a:folHlink>
        <a:srgbClr val="954F72"/>
      </a:folHlink>
    </a:clrScheme>
    <a:fontScheme name="Custom 1">
      <a:majorFont>
        <a:latin typeface="29LT Bukra SemiBold"/>
        <a:ea typeface=""/>
        <a:cs typeface="29LT Bukra SemiBold"/>
      </a:majorFont>
      <a:minorFont>
        <a:latin typeface="Effra Regular"/>
        <a:ea typeface=""/>
        <a:cs typeface="Effra Regula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marL="0" algn="ctr" defTabSz="914400" rtl="1" eaLnBrk="1" latinLnBrk="0" hangingPunct="1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 anchor="ctr" anchorCtr="0">
        <a:noAutofit/>
      </a:bodyPr>
      <a:lstStyle>
        <a:defPPr marL="0" algn="r" defTabSz="914400" rtl="1" eaLnBrk="1" latinLnBrk="0" hangingPunct="1">
          <a:defRPr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FEE3F420A0F84885EFDD8D0EE7D2FF" ma:contentTypeVersion="11" ma:contentTypeDescription="Create a new document." ma:contentTypeScope="" ma:versionID="237ebb84824fee7dca0342909b5903f5">
  <xsd:schema xmlns:xsd="http://www.w3.org/2001/XMLSchema" xmlns:xs="http://www.w3.org/2001/XMLSchema" xmlns:p="http://schemas.microsoft.com/office/2006/metadata/properties" xmlns:ns2="54ac99fa-ea48-4ce6-85e5-9fcc470e608a" xmlns:ns3="5a74d379-df3c-43c1-99be-0f85e7307278" targetNamespace="http://schemas.microsoft.com/office/2006/metadata/properties" ma:root="true" ma:fieldsID="5ee34231cc75bda7beef664464381a83" ns2:_="" ns3:_="">
    <xsd:import namespace="54ac99fa-ea48-4ce6-85e5-9fcc470e608a"/>
    <xsd:import namespace="5a74d379-df3c-43c1-99be-0f85e730727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ac99fa-ea48-4ce6-85e5-9fcc470e608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8e55ed9c-baae-4bd1-a66c-061a6827a7b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74d379-df3c-43c1-99be-0f85e730727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5b1885fa-cd9c-4c53-a944-98c06eecbab0}" ma:internalName="TaxCatchAll" ma:showField="CatchAllData" ma:web="5a74d379-df3c-43c1-99be-0f85e730727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a74d379-df3c-43c1-99be-0f85e7307278">
      <UserInfo>
        <DisplayName>Almajed, Oday</DisplayName>
        <AccountId>35</AccountId>
        <AccountType/>
      </UserInfo>
      <UserInfo>
        <DisplayName>Abomelha, Faris</DisplayName>
        <AccountId>160</AccountId>
        <AccountType/>
      </UserInfo>
      <UserInfo>
        <DisplayName>AlBahri, Maryam</DisplayName>
        <AccountId>34</AccountId>
        <AccountType/>
      </UserInfo>
      <UserInfo>
        <DisplayName>Leung, Andy (UAE)</DisplayName>
        <AccountId>24</AccountId>
        <AccountType/>
      </UserInfo>
      <UserInfo>
        <DisplayName>Alsager, Sager</DisplayName>
        <AccountId>108</AccountId>
        <AccountType/>
      </UserInfo>
      <UserInfo>
        <DisplayName>Jalawi, Maryam</DisplayName>
        <AccountId>221</AccountId>
        <AccountType/>
      </UserInfo>
    </SharedWithUsers>
    <lcf76f155ced4ddcb4097134ff3c332f xmlns="54ac99fa-ea48-4ce6-85e5-9fcc470e608a">
      <Terms xmlns="http://schemas.microsoft.com/office/infopath/2007/PartnerControls"/>
    </lcf76f155ced4ddcb4097134ff3c332f>
    <TaxCatchAll xmlns="5a74d379-df3c-43c1-99be-0f85e7307278" xsi:nil="true"/>
  </documentManagement>
</p:properties>
</file>

<file path=customXml/itemProps1.xml><?xml version="1.0" encoding="utf-8"?>
<ds:datastoreItem xmlns:ds="http://schemas.openxmlformats.org/officeDocument/2006/customXml" ds:itemID="{CD11F913-274F-45AC-9031-91488440A44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767B9D2-0332-4FB3-8C30-4DFFD24561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4ac99fa-ea48-4ce6-85e5-9fcc470e608a"/>
    <ds:schemaRef ds:uri="5a74d379-df3c-43c1-99be-0f85e730727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5B5DDD9-98FC-43BA-BF93-486384F17CA8}">
  <ds:schemaRefs>
    <ds:schemaRef ds:uri="54ac99fa-ea48-4ce6-85e5-9fcc470e608a"/>
    <ds:schemaRef ds:uri="http://purl.org/dc/terms/"/>
    <ds:schemaRef ds:uri="http://purl.org/dc/elements/1.1/"/>
    <ds:schemaRef ds:uri="http://purl.org/dc/dcmitype/"/>
    <ds:schemaRef ds:uri="http://schemas.microsoft.com/office/infopath/2007/PartnerControls"/>
    <ds:schemaRef ds:uri="http://www.w3.org/XML/1998/namespace"/>
    <ds:schemaRef ds:uri="http://schemas.microsoft.com/office/2006/documentManagement/types"/>
    <ds:schemaRef ds:uri="http://schemas.microsoft.com/office/2006/metadata/properties"/>
    <ds:schemaRef ds:uri="http://schemas.openxmlformats.org/package/2006/metadata/core-properties"/>
    <ds:schemaRef ds:uri="5a74d379-df3c-43c1-99be-0f85e7307278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302</TotalTime>
  <Words>489</Words>
  <Application>Microsoft Office PowerPoint</Application>
  <PresentationFormat>شاشة عريضة</PresentationFormat>
  <Paragraphs>169</Paragraphs>
  <Slides>4</Slides>
  <Notes>3</Notes>
  <HiddenSlides>0</HiddenSlides>
  <MMClips>0</MMClips>
  <ScaleCrop>false</ScaleCrop>
  <HeadingPairs>
    <vt:vector size="8" baseType="variant">
      <vt:variant>
        <vt:lpstr>الخطوط المستخدمة</vt:lpstr>
      </vt:variant>
      <vt:variant>
        <vt:i4>11</vt:i4>
      </vt:variant>
      <vt:variant>
        <vt:lpstr>نسق</vt:lpstr>
      </vt:variant>
      <vt:variant>
        <vt:i4>1</vt:i4>
      </vt:variant>
      <vt:variant>
        <vt:lpstr>خوادم OLE مضمنة</vt:lpstr>
      </vt:variant>
      <vt:variant>
        <vt:i4>1</vt:i4>
      </vt:variant>
      <vt:variant>
        <vt:lpstr>عناوين الشرائح</vt:lpstr>
      </vt:variant>
      <vt:variant>
        <vt:i4>4</vt:i4>
      </vt:variant>
    </vt:vector>
  </HeadingPairs>
  <TitlesOfParts>
    <vt:vector size="17" baseType="lpstr">
      <vt:lpstr>29LT Bukra</vt:lpstr>
      <vt:lpstr>29LT Bukra SemiBold</vt:lpstr>
      <vt:lpstr>Arial</vt:lpstr>
      <vt:lpstr>Calibri</vt:lpstr>
      <vt:lpstr>Effra</vt:lpstr>
      <vt:lpstr>Effra Regular</vt:lpstr>
      <vt:lpstr>Greta Arabic</vt:lpstr>
      <vt:lpstr>Greta Arabic Light</vt:lpstr>
      <vt:lpstr>HRSD</vt:lpstr>
      <vt:lpstr>HRSD Title</vt:lpstr>
      <vt:lpstr>Symbio AR+LT</vt:lpstr>
      <vt:lpstr>Office Theme</vt:lpstr>
      <vt:lpstr>think-cell Slide</vt:lpstr>
      <vt:lpstr>تقرير تقدم التخطيط الاستراتيجي للقوى العاملة</vt:lpstr>
      <vt:lpstr>عرض تقديمي في PowerPoint</vt:lpstr>
      <vt:lpstr>عرض تقديمي في PowerPoint</vt:lpstr>
      <vt:lpstr>عرض تقديمي في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BDALRAHMAN MOHAMED ALI MOHAMED</dc:creator>
  <cp:lastModifiedBy>احمد عياط كسار العنزي</cp:lastModifiedBy>
  <cp:revision>12</cp:revision>
  <dcterms:created xsi:type="dcterms:W3CDTF">2020-06-01T07:14:50Z</dcterms:created>
  <dcterms:modified xsi:type="dcterms:W3CDTF">2023-08-06T06:18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FEE3F420A0F84885EFDD8D0EE7D2FF</vt:lpwstr>
  </property>
  <property fmtid="{D5CDD505-2E9C-101B-9397-08002B2CF9AE}" pid="3" name="MediaServiceImageTags">
    <vt:lpwstr/>
  </property>
  <property fmtid="{D5CDD505-2E9C-101B-9397-08002B2CF9AE}" pid="4" name="MSIP_Label_5cebf2f5-dee6-403f-8a2a-296d92d3ce27_Enabled">
    <vt:lpwstr>true</vt:lpwstr>
  </property>
  <property fmtid="{D5CDD505-2E9C-101B-9397-08002B2CF9AE}" pid="5" name="MSIP_Label_5cebf2f5-dee6-403f-8a2a-296d92d3ce27_SetDate">
    <vt:lpwstr>2023-08-06T06:17:36Z</vt:lpwstr>
  </property>
  <property fmtid="{D5CDD505-2E9C-101B-9397-08002B2CF9AE}" pid="6" name="MSIP_Label_5cebf2f5-dee6-403f-8a2a-296d92d3ce27_Method">
    <vt:lpwstr>Standard</vt:lpwstr>
  </property>
  <property fmtid="{D5CDD505-2E9C-101B-9397-08002B2CF9AE}" pid="7" name="MSIP_Label_5cebf2f5-dee6-403f-8a2a-296d92d3ce27_Name">
    <vt:lpwstr>Internal</vt:lpwstr>
  </property>
  <property fmtid="{D5CDD505-2E9C-101B-9397-08002B2CF9AE}" pid="8" name="MSIP_Label_5cebf2f5-dee6-403f-8a2a-296d92d3ce27_SiteId">
    <vt:lpwstr>7c65bb51-39b0-4cd9-bcdd-b68d86af1a8c</vt:lpwstr>
  </property>
  <property fmtid="{D5CDD505-2E9C-101B-9397-08002B2CF9AE}" pid="9" name="MSIP_Label_5cebf2f5-dee6-403f-8a2a-296d92d3ce27_ActionId">
    <vt:lpwstr>9a9cc7a8-cbe1-42fc-9ef7-b7f5e335f913</vt:lpwstr>
  </property>
  <property fmtid="{D5CDD505-2E9C-101B-9397-08002B2CF9AE}" pid="10" name="MSIP_Label_5cebf2f5-dee6-403f-8a2a-296d92d3ce27_ContentBits">
    <vt:lpwstr>3</vt:lpwstr>
  </property>
</Properties>
</file>